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7" r:id="rId1"/>
    <p:sldMasterId id="2147483921" r:id="rId2"/>
    <p:sldMasterId id="2147484165" r:id="rId3"/>
  </p:sldMasterIdLst>
  <p:sldIdLst>
    <p:sldId id="256" r:id="rId4"/>
    <p:sldId id="273" r:id="rId5"/>
    <p:sldId id="259" r:id="rId6"/>
    <p:sldId id="260" r:id="rId7"/>
    <p:sldId id="261" r:id="rId8"/>
    <p:sldId id="281" r:id="rId9"/>
    <p:sldId id="282" r:id="rId10"/>
    <p:sldId id="283" r:id="rId11"/>
    <p:sldId id="284" r:id="rId12"/>
    <p:sldId id="285" r:id="rId13"/>
    <p:sldId id="286" r:id="rId14"/>
    <p:sldId id="287" r:id="rId15"/>
    <p:sldId id="288" r:id="rId16"/>
    <p:sldId id="289" r:id="rId17"/>
    <p:sldId id="311" r:id="rId18"/>
    <p:sldId id="313" r:id="rId19"/>
    <p:sldId id="290" r:id="rId20"/>
    <p:sldId id="291" r:id="rId21"/>
    <p:sldId id="294" r:id="rId22"/>
    <p:sldId id="295" r:id="rId23"/>
    <p:sldId id="296" r:id="rId24"/>
    <p:sldId id="297" r:id="rId25"/>
    <p:sldId id="298" r:id="rId26"/>
    <p:sldId id="276" r:id="rId27"/>
    <p:sldId id="280" r:id="rId28"/>
    <p:sldId id="312" r:id="rId29"/>
    <p:sldId id="271" r:id="rId30"/>
    <p:sldId id="302" r:id="rId31"/>
    <p:sldId id="303" r:id="rId32"/>
    <p:sldId id="308" r:id="rId33"/>
    <p:sldId id="310"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70E7ECB-A3D6-41AD-B959-660BA1518FCD}">
          <p14:sldIdLst>
            <p14:sldId id="256"/>
            <p14:sldId id="273"/>
            <p14:sldId id="259"/>
            <p14:sldId id="260"/>
            <p14:sldId id="261"/>
            <p14:sldId id="281"/>
            <p14:sldId id="282"/>
            <p14:sldId id="283"/>
            <p14:sldId id="284"/>
            <p14:sldId id="285"/>
            <p14:sldId id="286"/>
            <p14:sldId id="287"/>
            <p14:sldId id="288"/>
            <p14:sldId id="289"/>
            <p14:sldId id="311"/>
            <p14:sldId id="313"/>
            <p14:sldId id="290"/>
            <p14:sldId id="291"/>
            <p14:sldId id="294"/>
            <p14:sldId id="295"/>
            <p14:sldId id="296"/>
            <p14:sldId id="297"/>
            <p14:sldId id="298"/>
            <p14:sldId id="276"/>
            <p14:sldId id="280"/>
            <p14:sldId id="312"/>
            <p14:sldId id="271"/>
            <p14:sldId id="302"/>
            <p14:sldId id="303"/>
            <p14:sldId id="308"/>
            <p14:sldId id="31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0000"/>
    <a:srgbClr val="FC2C16"/>
    <a:srgbClr val="FF00FF"/>
    <a:srgbClr val="FF3399"/>
    <a:srgbClr val="CCFF99"/>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BC8C95-2B2B-47F0-82EC-153A3C80402B}" v="94" dt="2024-08-16T11:04:58.4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623" autoAdjust="0"/>
    <p:restoredTop sz="94660"/>
  </p:normalViewPr>
  <p:slideViewPr>
    <p:cSldViewPr snapToGrid="0">
      <p:cViewPr varScale="1">
        <p:scale>
          <a:sx n="90" d="100"/>
          <a:sy n="90" d="100"/>
        </p:scale>
        <p:origin x="954"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microsoft.com/office/2016/11/relationships/changesInfo" Target="changesInfos/changesInfo1.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 Id="rId8" Type="http://schemas.openxmlformats.org/officeDocument/2006/relationships/slide" Target="slides/slide5.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ttesh Dattu" userId="e9f6239ee300b592" providerId="LiveId" clId="{5CBC8C95-2B2B-47F0-82EC-153A3C80402B}"/>
    <pc:docChg chg="undo custSel addSld delSld modSld sldOrd modMainMaster modSection">
      <pc:chgData name="Dattesh Dattu" userId="e9f6239ee300b592" providerId="LiveId" clId="{5CBC8C95-2B2B-47F0-82EC-153A3C80402B}" dt="2024-08-16T11:08:47.335" v="1041" actId="207"/>
      <pc:docMkLst>
        <pc:docMk/>
      </pc:docMkLst>
      <pc:sldChg chg="addSp delSp modSp mod modTransition">
        <pc:chgData name="Dattesh Dattu" userId="e9f6239ee300b592" providerId="LiveId" clId="{5CBC8C95-2B2B-47F0-82EC-153A3C80402B}" dt="2024-08-16T10:45:55.988" v="864"/>
        <pc:sldMkLst>
          <pc:docMk/>
          <pc:sldMk cId="1925321039" sldId="256"/>
        </pc:sldMkLst>
        <pc:spChg chg="add mod">
          <ac:chgData name="Dattesh Dattu" userId="e9f6239ee300b592" providerId="LiveId" clId="{5CBC8C95-2B2B-47F0-82EC-153A3C80402B}" dt="2024-08-16T10:36:20.976" v="840" actId="3062"/>
          <ac:spMkLst>
            <pc:docMk/>
            <pc:sldMk cId="1925321039" sldId="256"/>
            <ac:spMk id="2" creationId="{AC543BE6-0C51-476E-ABB4-F4A8EA77475C}"/>
          </ac:spMkLst>
        </pc:spChg>
        <pc:spChg chg="mod">
          <ac:chgData name="Dattesh Dattu" userId="e9f6239ee300b592" providerId="LiveId" clId="{5CBC8C95-2B2B-47F0-82EC-153A3C80402B}" dt="2024-08-16T10:38:26.969" v="846"/>
          <ac:spMkLst>
            <pc:docMk/>
            <pc:sldMk cId="1925321039" sldId="256"/>
            <ac:spMk id="10" creationId="{5957BB9C-05E8-CBD2-9C6B-860778A723FD}"/>
          </ac:spMkLst>
        </pc:spChg>
        <pc:picChg chg="mod">
          <ac:chgData name="Dattesh Dattu" userId="e9f6239ee300b592" providerId="LiveId" clId="{5CBC8C95-2B2B-47F0-82EC-153A3C80402B}" dt="2024-08-16T10:38:00.117" v="845" actId="1076"/>
          <ac:picMkLst>
            <pc:docMk/>
            <pc:sldMk cId="1925321039" sldId="256"/>
            <ac:picMk id="16" creationId="{DFCE10E4-9187-EAD2-1193-7411299AC885}"/>
          </ac:picMkLst>
        </pc:picChg>
        <pc:picChg chg="del">
          <ac:chgData name="Dattesh Dattu" userId="e9f6239ee300b592" providerId="LiveId" clId="{5CBC8C95-2B2B-47F0-82EC-153A3C80402B}" dt="2024-08-16T10:33:43.142" v="813" actId="478"/>
          <ac:picMkLst>
            <pc:docMk/>
            <pc:sldMk cId="1925321039" sldId="256"/>
            <ac:picMk id="1030" creationId="{0D5E7BCE-1DD4-A313-F8A1-9C871F281EBE}"/>
          </ac:picMkLst>
        </pc:picChg>
        <pc:picChg chg="del">
          <ac:chgData name="Dattesh Dattu" userId="e9f6239ee300b592" providerId="LiveId" clId="{5CBC8C95-2B2B-47F0-82EC-153A3C80402B}" dt="2024-08-16T10:33:40.200" v="812" actId="478"/>
          <ac:picMkLst>
            <pc:docMk/>
            <pc:sldMk cId="1925321039" sldId="256"/>
            <ac:picMk id="1032" creationId="{3F29D478-4A95-2EED-BE13-EDA2F94114ED}"/>
          </ac:picMkLst>
        </pc:picChg>
        <pc:picChg chg="del">
          <ac:chgData name="Dattesh Dattu" userId="e9f6239ee300b592" providerId="LiveId" clId="{5CBC8C95-2B2B-47F0-82EC-153A3C80402B}" dt="2024-08-16T10:33:50.233" v="815" actId="478"/>
          <ac:picMkLst>
            <pc:docMk/>
            <pc:sldMk cId="1925321039" sldId="256"/>
            <ac:picMk id="1036" creationId="{F720A90B-FDB4-18CA-69AA-5472D6735DC1}"/>
          </ac:picMkLst>
        </pc:picChg>
      </pc:sldChg>
      <pc:sldChg chg="del">
        <pc:chgData name="Dattesh Dattu" userId="e9f6239ee300b592" providerId="LiveId" clId="{5CBC8C95-2B2B-47F0-82EC-153A3C80402B}" dt="2024-08-16T10:33:15.700" v="776" actId="47"/>
        <pc:sldMkLst>
          <pc:docMk/>
          <pc:sldMk cId="2397222474" sldId="257"/>
        </pc:sldMkLst>
      </pc:sldChg>
      <pc:sldChg chg="modSp mod modTransition">
        <pc:chgData name="Dattesh Dattu" userId="e9f6239ee300b592" providerId="LiveId" clId="{5CBC8C95-2B2B-47F0-82EC-153A3C80402B}" dt="2024-08-16T10:50:07.211" v="920" actId="27636"/>
        <pc:sldMkLst>
          <pc:docMk/>
          <pc:sldMk cId="3316346444" sldId="259"/>
        </pc:sldMkLst>
        <pc:spChg chg="mod">
          <ac:chgData name="Dattesh Dattu" userId="e9f6239ee300b592" providerId="LiveId" clId="{5CBC8C95-2B2B-47F0-82EC-153A3C80402B}" dt="2024-08-16T10:50:07.211" v="920" actId="27636"/>
          <ac:spMkLst>
            <pc:docMk/>
            <pc:sldMk cId="3316346444" sldId="259"/>
            <ac:spMk id="3" creationId="{A8AA87E4-C3EC-983B-1885-EF7D1C136854}"/>
          </ac:spMkLst>
        </pc:spChg>
      </pc:sldChg>
      <pc:sldChg chg="modSp mod modTransition">
        <pc:chgData name="Dattesh Dattu" userId="e9f6239ee300b592" providerId="LiveId" clId="{5CBC8C95-2B2B-47F0-82EC-153A3C80402B}" dt="2024-08-16T11:06:02.921" v="1035" actId="13822"/>
        <pc:sldMkLst>
          <pc:docMk/>
          <pc:sldMk cId="810072618" sldId="260"/>
        </pc:sldMkLst>
        <pc:spChg chg="mod">
          <ac:chgData name="Dattesh Dattu" userId="e9f6239ee300b592" providerId="LiveId" clId="{5CBC8C95-2B2B-47F0-82EC-153A3C80402B}" dt="2024-08-16T11:06:02.921" v="1035" actId="13822"/>
          <ac:spMkLst>
            <pc:docMk/>
            <pc:sldMk cId="810072618" sldId="260"/>
            <ac:spMk id="3" creationId="{A0A6D0A6-B954-47F2-AF05-35A229C01049}"/>
          </ac:spMkLst>
        </pc:spChg>
      </pc:sldChg>
      <pc:sldChg chg="modSp mod modTransition">
        <pc:chgData name="Dattesh Dattu" userId="e9f6239ee300b592" providerId="LiveId" clId="{5CBC8C95-2B2B-47F0-82EC-153A3C80402B}" dt="2024-08-16T10:50:07.227" v="921" actId="27636"/>
        <pc:sldMkLst>
          <pc:docMk/>
          <pc:sldMk cId="3757235709" sldId="261"/>
        </pc:sldMkLst>
        <pc:spChg chg="mod">
          <ac:chgData name="Dattesh Dattu" userId="e9f6239ee300b592" providerId="LiveId" clId="{5CBC8C95-2B2B-47F0-82EC-153A3C80402B}" dt="2024-08-16T10:50:07.227" v="921" actId="27636"/>
          <ac:spMkLst>
            <pc:docMk/>
            <pc:sldMk cId="3757235709" sldId="261"/>
            <ac:spMk id="3" creationId="{20C97064-E14D-BF71-4E04-8DCA3FB0FFE6}"/>
          </ac:spMkLst>
        </pc:spChg>
      </pc:sldChg>
      <pc:sldChg chg="del">
        <pc:chgData name="Dattesh Dattu" userId="e9f6239ee300b592" providerId="LiveId" clId="{5CBC8C95-2B2B-47F0-82EC-153A3C80402B}" dt="2024-08-16T09:52:54.527" v="28" actId="47"/>
        <pc:sldMkLst>
          <pc:docMk/>
          <pc:sldMk cId="503840773" sldId="268"/>
        </pc:sldMkLst>
      </pc:sldChg>
      <pc:sldChg chg="modSp mod ord modTransition">
        <pc:chgData name="Dattesh Dattu" userId="e9f6239ee300b592" providerId="LiveId" clId="{5CBC8C95-2B2B-47F0-82EC-153A3C80402B}" dt="2024-08-16T10:50:25.739" v="927" actId="1076"/>
        <pc:sldMkLst>
          <pc:docMk/>
          <pc:sldMk cId="3380905224" sldId="271"/>
        </pc:sldMkLst>
        <pc:spChg chg="mod">
          <ac:chgData name="Dattesh Dattu" userId="e9f6239ee300b592" providerId="LiveId" clId="{5CBC8C95-2B2B-47F0-82EC-153A3C80402B}" dt="2024-08-16T10:47:52.764" v="876" actId="14100"/>
          <ac:spMkLst>
            <pc:docMk/>
            <pc:sldMk cId="3380905224" sldId="271"/>
            <ac:spMk id="3" creationId="{7A4FE2CE-1C7D-28DF-7E36-150211FAF366}"/>
          </ac:spMkLst>
        </pc:spChg>
        <pc:picChg chg="mod">
          <ac:chgData name="Dattesh Dattu" userId="e9f6239ee300b592" providerId="LiveId" clId="{5CBC8C95-2B2B-47F0-82EC-153A3C80402B}" dt="2024-08-16T10:50:25.739" v="927" actId="1076"/>
          <ac:picMkLst>
            <pc:docMk/>
            <pc:sldMk cId="3380905224" sldId="271"/>
            <ac:picMk id="4" creationId="{E54BE6BA-1764-9175-2984-58F8FBDE421B}"/>
          </ac:picMkLst>
        </pc:picChg>
      </pc:sldChg>
      <pc:sldChg chg="modSp mod modTransition">
        <pc:chgData name="Dattesh Dattu" userId="e9f6239ee300b592" providerId="LiveId" clId="{5CBC8C95-2B2B-47F0-82EC-153A3C80402B}" dt="2024-08-16T10:50:06.835" v="919"/>
        <pc:sldMkLst>
          <pc:docMk/>
          <pc:sldMk cId="4000298297" sldId="273"/>
        </pc:sldMkLst>
        <pc:spChg chg="mod">
          <ac:chgData name="Dattesh Dattu" userId="e9f6239ee300b592" providerId="LiveId" clId="{5CBC8C95-2B2B-47F0-82EC-153A3C80402B}" dt="2024-08-16T10:47:32.849" v="866" actId="27636"/>
          <ac:spMkLst>
            <pc:docMk/>
            <pc:sldMk cId="4000298297" sldId="273"/>
            <ac:spMk id="4" creationId="{1504B3F1-A31A-B760-9364-78F54CC9EDFE}"/>
          </ac:spMkLst>
        </pc:spChg>
        <pc:graphicFrameChg chg="mod">
          <ac:chgData name="Dattesh Dattu" userId="e9f6239ee300b592" providerId="LiveId" clId="{5CBC8C95-2B2B-47F0-82EC-153A3C80402B}" dt="2024-08-16T10:33:30.649" v="811" actId="20577"/>
          <ac:graphicFrameMkLst>
            <pc:docMk/>
            <pc:sldMk cId="4000298297" sldId="273"/>
            <ac:graphicFrameMk id="6" creationId="{2349D86E-31BB-E6D2-D877-57EED118C9F3}"/>
          </ac:graphicFrameMkLst>
        </pc:graphicFrameChg>
      </pc:sldChg>
      <pc:sldChg chg="del">
        <pc:chgData name="Dattesh Dattu" userId="e9f6239ee300b592" providerId="LiveId" clId="{5CBC8C95-2B2B-47F0-82EC-153A3C80402B}" dt="2024-08-16T09:52:59.667" v="29" actId="47"/>
        <pc:sldMkLst>
          <pc:docMk/>
          <pc:sldMk cId="1408597846" sldId="274"/>
        </pc:sldMkLst>
      </pc:sldChg>
      <pc:sldChg chg="addSp modSp mod ord modTransition">
        <pc:chgData name="Dattesh Dattu" userId="e9f6239ee300b592" providerId="LiveId" clId="{5CBC8C95-2B2B-47F0-82EC-153A3C80402B}" dt="2024-08-16T10:50:06.835" v="919"/>
        <pc:sldMkLst>
          <pc:docMk/>
          <pc:sldMk cId="1840682368" sldId="276"/>
        </pc:sldMkLst>
        <pc:spChg chg="mod">
          <ac:chgData name="Dattesh Dattu" userId="e9f6239ee300b592" providerId="LiveId" clId="{5CBC8C95-2B2B-47F0-82EC-153A3C80402B}" dt="2024-08-16T10:04:13.403" v="161" actId="115"/>
          <ac:spMkLst>
            <pc:docMk/>
            <pc:sldMk cId="1840682368" sldId="276"/>
            <ac:spMk id="2" creationId="{8531C92A-C3F5-DCF2-EB52-D8AC6DF5BA75}"/>
          </ac:spMkLst>
        </pc:spChg>
        <pc:spChg chg="mod">
          <ac:chgData name="Dattesh Dattu" userId="e9f6239ee300b592" providerId="LiveId" clId="{5CBC8C95-2B2B-47F0-82EC-153A3C80402B}" dt="2024-08-16T10:49:49.890" v="914" actId="27636"/>
          <ac:spMkLst>
            <pc:docMk/>
            <pc:sldMk cId="1840682368" sldId="276"/>
            <ac:spMk id="3" creationId="{3A50187B-29AF-69AF-0709-F4F123F6855B}"/>
          </ac:spMkLst>
        </pc:spChg>
        <pc:spChg chg="add mod">
          <ac:chgData name="Dattesh Dattu" userId="e9f6239ee300b592" providerId="LiveId" clId="{5CBC8C95-2B2B-47F0-82EC-153A3C80402B}" dt="2024-08-16T10:03:01.825" v="146" actId="1076"/>
          <ac:spMkLst>
            <pc:docMk/>
            <pc:sldMk cId="1840682368" sldId="276"/>
            <ac:spMk id="4" creationId="{3EB1D807-F524-58F5-2F6A-D5B850298E42}"/>
          </ac:spMkLst>
        </pc:spChg>
        <pc:picChg chg="add mod">
          <ac:chgData name="Dattesh Dattu" userId="e9f6239ee300b592" providerId="LiveId" clId="{5CBC8C95-2B2B-47F0-82EC-153A3C80402B}" dt="2024-08-16T10:02:56.603" v="145" actId="14100"/>
          <ac:picMkLst>
            <pc:docMk/>
            <pc:sldMk cId="1840682368" sldId="276"/>
            <ac:picMk id="6" creationId="{9A5240AF-74A4-A0AD-FCC6-89136F9ED2F3}"/>
          </ac:picMkLst>
        </pc:picChg>
        <pc:picChg chg="mod">
          <ac:chgData name="Dattesh Dattu" userId="e9f6239ee300b592" providerId="LiveId" clId="{5CBC8C95-2B2B-47F0-82EC-153A3C80402B}" dt="2024-08-16T10:04:16.073" v="162" actId="1076"/>
          <ac:picMkLst>
            <pc:docMk/>
            <pc:sldMk cId="1840682368" sldId="276"/>
            <ac:picMk id="4098" creationId="{3B47B38A-463B-7EDB-518C-B9DFBF33406E}"/>
          </ac:picMkLst>
        </pc:picChg>
      </pc:sldChg>
      <pc:sldChg chg="modSp mod ord modTransition">
        <pc:chgData name="Dattesh Dattu" userId="e9f6239ee300b592" providerId="LiveId" clId="{5CBC8C95-2B2B-47F0-82EC-153A3C80402B}" dt="2024-08-16T11:08:47.335" v="1041" actId="207"/>
        <pc:sldMkLst>
          <pc:docMk/>
          <pc:sldMk cId="1409796378" sldId="280"/>
        </pc:sldMkLst>
        <pc:spChg chg="mod">
          <ac:chgData name="Dattesh Dattu" userId="e9f6239ee300b592" providerId="LiveId" clId="{5CBC8C95-2B2B-47F0-82EC-153A3C80402B}" dt="2024-08-16T11:08:47.335" v="1041" actId="207"/>
          <ac:spMkLst>
            <pc:docMk/>
            <pc:sldMk cId="1409796378" sldId="280"/>
            <ac:spMk id="2" creationId="{55B225AD-B2F2-7293-93C4-F90DFA301897}"/>
          </ac:spMkLst>
        </pc:spChg>
        <pc:spChg chg="mod">
          <ac:chgData name="Dattesh Dattu" userId="e9f6239ee300b592" providerId="LiveId" clId="{5CBC8C95-2B2B-47F0-82EC-153A3C80402B}" dt="2024-08-16T10:50:07.306" v="924" actId="27636"/>
          <ac:spMkLst>
            <pc:docMk/>
            <pc:sldMk cId="1409796378" sldId="280"/>
            <ac:spMk id="3" creationId="{B1AE2EF3-E005-77C2-AA38-467C9663C854}"/>
          </ac:spMkLst>
        </pc:spChg>
        <pc:spChg chg="mod">
          <ac:chgData name="Dattesh Dattu" userId="e9f6239ee300b592" providerId="LiveId" clId="{5CBC8C95-2B2B-47F0-82EC-153A3C80402B}" dt="2024-08-16T11:08:30.900" v="1037" actId="13822"/>
          <ac:spMkLst>
            <pc:docMk/>
            <pc:sldMk cId="1409796378" sldId="280"/>
            <ac:spMk id="5" creationId="{1FE21A60-6522-4AD6-D0E8-F5CA3D1F87DD}"/>
          </ac:spMkLst>
        </pc:spChg>
      </pc:sldChg>
      <pc:sldChg chg="modSp mod modTransition">
        <pc:chgData name="Dattesh Dattu" userId="e9f6239ee300b592" providerId="LiveId" clId="{5CBC8C95-2B2B-47F0-82EC-153A3C80402B}" dt="2024-08-16T10:50:07.243" v="922" actId="27636"/>
        <pc:sldMkLst>
          <pc:docMk/>
          <pc:sldMk cId="136119799" sldId="281"/>
        </pc:sldMkLst>
        <pc:spChg chg="mod">
          <ac:chgData name="Dattesh Dattu" userId="e9f6239ee300b592" providerId="LiveId" clId="{5CBC8C95-2B2B-47F0-82EC-153A3C80402B}" dt="2024-08-16T10:50:07.243" v="922" actId="27636"/>
          <ac:spMkLst>
            <pc:docMk/>
            <pc:sldMk cId="136119799" sldId="281"/>
            <ac:spMk id="3" creationId="{EC5AD16D-A3E9-7539-3DB8-7745A2C676AC}"/>
          </ac:spMkLst>
        </pc:spChg>
      </pc:sldChg>
      <pc:sldChg chg="delSp mod modTransition">
        <pc:chgData name="Dattesh Dattu" userId="e9f6239ee300b592" providerId="LiveId" clId="{5CBC8C95-2B2B-47F0-82EC-153A3C80402B}" dt="2024-08-16T11:07:56.155" v="1036" actId="478"/>
        <pc:sldMkLst>
          <pc:docMk/>
          <pc:sldMk cId="1627380890" sldId="282"/>
        </pc:sldMkLst>
        <pc:picChg chg="del">
          <ac:chgData name="Dattesh Dattu" userId="e9f6239ee300b592" providerId="LiveId" clId="{5CBC8C95-2B2B-47F0-82EC-153A3C80402B}" dt="2024-08-16T11:07:56.155" v="1036" actId="478"/>
          <ac:picMkLst>
            <pc:docMk/>
            <pc:sldMk cId="1627380890" sldId="282"/>
            <ac:picMk id="7178" creationId="{5035BB86-336A-3BC3-94E0-06E1ED6D4594}"/>
          </ac:picMkLst>
        </pc:picChg>
      </pc:sldChg>
      <pc:sldChg chg="modSp mod modTransition">
        <pc:chgData name="Dattesh Dattu" userId="e9f6239ee300b592" providerId="LiveId" clId="{5CBC8C95-2B2B-47F0-82EC-153A3C80402B}" dt="2024-08-16T10:47:32.959" v="869" actId="27636"/>
        <pc:sldMkLst>
          <pc:docMk/>
          <pc:sldMk cId="948360307" sldId="283"/>
        </pc:sldMkLst>
        <pc:spChg chg="mod">
          <ac:chgData name="Dattesh Dattu" userId="e9f6239ee300b592" providerId="LiveId" clId="{5CBC8C95-2B2B-47F0-82EC-153A3C80402B}" dt="2024-08-16T10:47:32.959" v="869" actId="27636"/>
          <ac:spMkLst>
            <pc:docMk/>
            <pc:sldMk cId="948360307" sldId="283"/>
            <ac:spMk id="2" creationId="{480B04CC-8DBC-67AC-B1FD-A5D4544BBD75}"/>
          </ac:spMkLst>
        </pc:spChg>
      </pc:sldChg>
      <pc:sldChg chg="addSp modSp mod modTransition">
        <pc:chgData name="Dattesh Dattu" userId="e9f6239ee300b592" providerId="LiveId" clId="{5CBC8C95-2B2B-47F0-82EC-153A3C80402B}" dt="2024-08-16T11:05:53.349" v="1034" actId="13822"/>
        <pc:sldMkLst>
          <pc:docMk/>
          <pc:sldMk cId="3110366729" sldId="284"/>
        </pc:sldMkLst>
        <pc:spChg chg="add mod">
          <ac:chgData name="Dattesh Dattu" userId="e9f6239ee300b592" providerId="LiveId" clId="{5CBC8C95-2B2B-47F0-82EC-153A3C80402B}" dt="2024-08-16T11:05:25.836" v="1030" actId="14100"/>
          <ac:spMkLst>
            <pc:docMk/>
            <pc:sldMk cId="3110366729" sldId="284"/>
            <ac:spMk id="2" creationId="{93CE0297-7983-F287-3666-3162CE49AD59}"/>
          </ac:spMkLst>
        </pc:spChg>
        <pc:spChg chg="mod">
          <ac:chgData name="Dattesh Dattu" userId="e9f6239ee300b592" providerId="LiveId" clId="{5CBC8C95-2B2B-47F0-82EC-153A3C80402B}" dt="2024-08-16T11:05:46.328" v="1032" actId="13822"/>
          <ac:spMkLst>
            <pc:docMk/>
            <pc:sldMk cId="3110366729" sldId="284"/>
            <ac:spMk id="11" creationId="{E964F036-677F-074A-3D41-F2063D837ADB}"/>
          </ac:spMkLst>
        </pc:spChg>
        <pc:spChg chg="mod">
          <ac:chgData name="Dattesh Dattu" userId="e9f6239ee300b592" providerId="LiveId" clId="{5CBC8C95-2B2B-47F0-82EC-153A3C80402B}" dt="2024-08-16T11:05:49.109" v="1033" actId="13822"/>
          <ac:spMkLst>
            <pc:docMk/>
            <pc:sldMk cId="3110366729" sldId="284"/>
            <ac:spMk id="12" creationId="{8971D446-D6E6-EB59-E2A2-DB65CD15EF4E}"/>
          </ac:spMkLst>
        </pc:spChg>
        <pc:spChg chg="mod">
          <ac:chgData name="Dattesh Dattu" userId="e9f6239ee300b592" providerId="LiveId" clId="{5CBC8C95-2B2B-47F0-82EC-153A3C80402B}" dt="2024-08-16T11:05:41.786" v="1031" actId="13822"/>
          <ac:spMkLst>
            <pc:docMk/>
            <pc:sldMk cId="3110366729" sldId="284"/>
            <ac:spMk id="14" creationId="{6783E5A6-22AC-5F00-987C-CA2C8D21E644}"/>
          </ac:spMkLst>
        </pc:spChg>
        <pc:spChg chg="mod">
          <ac:chgData name="Dattesh Dattu" userId="e9f6239ee300b592" providerId="LiveId" clId="{5CBC8C95-2B2B-47F0-82EC-153A3C80402B}" dt="2024-08-16T11:05:53.349" v="1034" actId="13822"/>
          <ac:spMkLst>
            <pc:docMk/>
            <pc:sldMk cId="3110366729" sldId="284"/>
            <ac:spMk id="15" creationId="{DA7DE6A1-09E5-C9DE-0C53-4F966C175120}"/>
          </ac:spMkLst>
        </pc:spChg>
      </pc:sldChg>
      <pc:sldChg chg="modSp mod modTransition">
        <pc:chgData name="Dattesh Dattu" userId="e9f6239ee300b592" providerId="LiveId" clId="{5CBC8C95-2B2B-47F0-82EC-153A3C80402B}" dt="2024-08-16T10:50:06.835" v="919"/>
        <pc:sldMkLst>
          <pc:docMk/>
          <pc:sldMk cId="1342965820" sldId="285"/>
        </pc:sldMkLst>
        <pc:spChg chg="mod">
          <ac:chgData name="Dattesh Dattu" userId="e9f6239ee300b592" providerId="LiveId" clId="{5CBC8C95-2B2B-47F0-82EC-153A3C80402B}" dt="2024-08-16T10:49:49.863" v="913" actId="27636"/>
          <ac:spMkLst>
            <pc:docMk/>
            <pc:sldMk cId="1342965820" sldId="285"/>
            <ac:spMk id="6" creationId="{82AFFB49-AED0-719D-41E8-849E643ED70A}"/>
          </ac:spMkLst>
        </pc:spChg>
      </pc:sldChg>
      <pc:sldChg chg="modTransition">
        <pc:chgData name="Dattesh Dattu" userId="e9f6239ee300b592" providerId="LiveId" clId="{5CBC8C95-2B2B-47F0-82EC-153A3C80402B}" dt="2024-08-16T10:50:06.835" v="919"/>
        <pc:sldMkLst>
          <pc:docMk/>
          <pc:sldMk cId="261607394" sldId="286"/>
        </pc:sldMkLst>
      </pc:sldChg>
      <pc:sldChg chg="modSp mod modTransition">
        <pc:chgData name="Dattesh Dattu" userId="e9f6239ee300b592" providerId="LiveId" clId="{5CBC8C95-2B2B-47F0-82EC-153A3C80402B}" dt="2024-08-16T10:50:06.835" v="919"/>
        <pc:sldMkLst>
          <pc:docMk/>
          <pc:sldMk cId="2020581443" sldId="287"/>
        </pc:sldMkLst>
        <pc:spChg chg="mod">
          <ac:chgData name="Dattesh Dattu" userId="e9f6239ee300b592" providerId="LiveId" clId="{5CBC8C95-2B2B-47F0-82EC-153A3C80402B}" dt="2024-08-16T10:47:32.975" v="871" actId="27636"/>
          <ac:spMkLst>
            <pc:docMk/>
            <pc:sldMk cId="2020581443" sldId="287"/>
            <ac:spMk id="2" creationId="{73F9EF28-B8B7-1F6D-832E-105739042609}"/>
          </ac:spMkLst>
        </pc:spChg>
      </pc:sldChg>
      <pc:sldChg chg="modTransition">
        <pc:chgData name="Dattesh Dattu" userId="e9f6239ee300b592" providerId="LiveId" clId="{5CBC8C95-2B2B-47F0-82EC-153A3C80402B}" dt="2024-08-16T10:50:06.835" v="919"/>
        <pc:sldMkLst>
          <pc:docMk/>
          <pc:sldMk cId="2224355700" sldId="288"/>
        </pc:sldMkLst>
      </pc:sldChg>
      <pc:sldChg chg="modSp modTransition">
        <pc:chgData name="Dattesh Dattu" userId="e9f6239ee300b592" providerId="LiveId" clId="{5CBC8C95-2B2B-47F0-82EC-153A3C80402B}" dt="2024-08-16T10:50:09.465" v="926"/>
        <pc:sldMkLst>
          <pc:docMk/>
          <pc:sldMk cId="184117319" sldId="289"/>
        </pc:sldMkLst>
        <pc:spChg chg="mod">
          <ac:chgData name="Dattesh Dattu" userId="e9f6239ee300b592" providerId="LiveId" clId="{5CBC8C95-2B2B-47F0-82EC-153A3C80402B}" dt="2024-08-16T10:50:09.465" v="926"/>
          <ac:spMkLst>
            <pc:docMk/>
            <pc:sldMk cId="184117319" sldId="289"/>
            <ac:spMk id="4" creationId="{F15B9B40-50C0-89E3-35DC-6B4D3DCFD9C2}"/>
          </ac:spMkLst>
        </pc:spChg>
      </pc:sldChg>
      <pc:sldChg chg="modTransition">
        <pc:chgData name="Dattesh Dattu" userId="e9f6239ee300b592" providerId="LiveId" clId="{5CBC8C95-2B2B-47F0-82EC-153A3C80402B}" dt="2024-08-16T10:50:06.835" v="919"/>
        <pc:sldMkLst>
          <pc:docMk/>
          <pc:sldMk cId="1988283345" sldId="290"/>
        </pc:sldMkLst>
      </pc:sldChg>
      <pc:sldChg chg="modTransition">
        <pc:chgData name="Dattesh Dattu" userId="e9f6239ee300b592" providerId="LiveId" clId="{5CBC8C95-2B2B-47F0-82EC-153A3C80402B}" dt="2024-08-16T10:50:06.835" v="919"/>
        <pc:sldMkLst>
          <pc:docMk/>
          <pc:sldMk cId="3801533091" sldId="291"/>
        </pc:sldMkLst>
      </pc:sldChg>
      <pc:sldChg chg="modTransition">
        <pc:chgData name="Dattesh Dattu" userId="e9f6239ee300b592" providerId="LiveId" clId="{5CBC8C95-2B2B-47F0-82EC-153A3C80402B}" dt="2024-08-16T10:50:06.835" v="919"/>
        <pc:sldMkLst>
          <pc:docMk/>
          <pc:sldMk cId="2406841036" sldId="294"/>
        </pc:sldMkLst>
      </pc:sldChg>
      <pc:sldChg chg="modTransition">
        <pc:chgData name="Dattesh Dattu" userId="e9f6239ee300b592" providerId="LiveId" clId="{5CBC8C95-2B2B-47F0-82EC-153A3C80402B}" dt="2024-08-16T10:50:06.835" v="919"/>
        <pc:sldMkLst>
          <pc:docMk/>
          <pc:sldMk cId="2618601207" sldId="295"/>
        </pc:sldMkLst>
      </pc:sldChg>
      <pc:sldChg chg="addSp delSp modSp mod modTransition">
        <pc:chgData name="Dattesh Dattu" userId="e9f6239ee300b592" providerId="LiveId" clId="{5CBC8C95-2B2B-47F0-82EC-153A3C80402B}" dt="2024-08-16T10:50:06.835" v="919"/>
        <pc:sldMkLst>
          <pc:docMk/>
          <pc:sldMk cId="290556978" sldId="296"/>
        </pc:sldMkLst>
        <pc:spChg chg="mod">
          <ac:chgData name="Dattesh Dattu" userId="e9f6239ee300b592" providerId="LiveId" clId="{5CBC8C95-2B2B-47F0-82EC-153A3C80402B}" dt="2024-08-16T09:49:53.159" v="16" actId="14100"/>
          <ac:spMkLst>
            <pc:docMk/>
            <pc:sldMk cId="290556978" sldId="296"/>
            <ac:spMk id="4" creationId="{DADB68D7-B987-CEF5-E54A-FB97D0481B9B}"/>
          </ac:spMkLst>
        </pc:spChg>
        <pc:picChg chg="add mod">
          <ac:chgData name="Dattesh Dattu" userId="e9f6239ee300b592" providerId="LiveId" clId="{5CBC8C95-2B2B-47F0-82EC-153A3C80402B}" dt="2024-08-16T09:49:57.782" v="17" actId="1440"/>
          <ac:picMkLst>
            <pc:docMk/>
            <pc:sldMk cId="290556978" sldId="296"/>
            <ac:picMk id="3" creationId="{A5666F95-B272-E04D-D6A0-5F4AF8018476}"/>
          </ac:picMkLst>
        </pc:picChg>
        <pc:picChg chg="del">
          <ac:chgData name="Dattesh Dattu" userId="e9f6239ee300b592" providerId="LiveId" clId="{5CBC8C95-2B2B-47F0-82EC-153A3C80402B}" dt="2024-08-16T09:47:14.921" v="7" actId="478"/>
          <ac:picMkLst>
            <pc:docMk/>
            <pc:sldMk cId="290556978" sldId="296"/>
            <ac:picMk id="2052" creationId="{86C14192-E0BB-3B3B-D136-0E109E27428E}"/>
          </ac:picMkLst>
        </pc:picChg>
      </pc:sldChg>
      <pc:sldChg chg="addSp delSp modSp mod modTransition">
        <pc:chgData name="Dattesh Dattu" userId="e9f6239ee300b592" providerId="LiveId" clId="{5CBC8C95-2B2B-47F0-82EC-153A3C80402B}" dt="2024-08-16T10:50:06.835" v="919"/>
        <pc:sldMkLst>
          <pc:docMk/>
          <pc:sldMk cId="331517871" sldId="297"/>
        </pc:sldMkLst>
        <pc:spChg chg="mod">
          <ac:chgData name="Dattesh Dattu" userId="e9f6239ee300b592" providerId="LiveId" clId="{5CBC8C95-2B2B-47F0-82EC-153A3C80402B}" dt="2024-08-16T09:51:27.493" v="24" actId="14100"/>
          <ac:spMkLst>
            <pc:docMk/>
            <pc:sldMk cId="331517871" sldId="297"/>
            <ac:spMk id="3" creationId="{811F2105-FC67-BF57-2140-9DC7EC6855A5}"/>
          </ac:spMkLst>
        </pc:spChg>
        <pc:picChg chg="add mod">
          <ac:chgData name="Dattesh Dattu" userId="e9f6239ee300b592" providerId="LiveId" clId="{5CBC8C95-2B2B-47F0-82EC-153A3C80402B}" dt="2024-08-16T09:51:35.794" v="27" actId="14100"/>
          <ac:picMkLst>
            <pc:docMk/>
            <pc:sldMk cId="331517871" sldId="297"/>
            <ac:picMk id="4" creationId="{6EED49B3-6E50-97AF-679C-DE707550DCCE}"/>
          </ac:picMkLst>
        </pc:picChg>
        <pc:picChg chg="del">
          <ac:chgData name="Dattesh Dattu" userId="e9f6239ee300b592" providerId="LiveId" clId="{5CBC8C95-2B2B-47F0-82EC-153A3C80402B}" dt="2024-08-16T09:51:05.528" v="18" actId="478"/>
          <ac:picMkLst>
            <pc:docMk/>
            <pc:sldMk cId="331517871" sldId="297"/>
            <ac:picMk id="3074" creationId="{E7A8EE4D-F8B0-5FF1-FECF-87972F5526B0}"/>
          </ac:picMkLst>
        </pc:picChg>
      </pc:sldChg>
      <pc:sldChg chg="modTransition">
        <pc:chgData name="Dattesh Dattu" userId="e9f6239ee300b592" providerId="LiveId" clId="{5CBC8C95-2B2B-47F0-82EC-153A3C80402B}" dt="2024-08-16T10:50:06.835" v="919"/>
        <pc:sldMkLst>
          <pc:docMk/>
          <pc:sldMk cId="1815156053" sldId="298"/>
        </pc:sldMkLst>
      </pc:sldChg>
      <pc:sldChg chg="addSp delSp modSp mod modTransition">
        <pc:chgData name="Dattesh Dattu" userId="e9f6239ee300b592" providerId="LiveId" clId="{5CBC8C95-2B2B-47F0-82EC-153A3C80402B}" dt="2024-08-16T10:50:06.835" v="919"/>
        <pc:sldMkLst>
          <pc:docMk/>
          <pc:sldMk cId="335537200" sldId="302"/>
        </pc:sldMkLst>
        <pc:spChg chg="mod">
          <ac:chgData name="Dattesh Dattu" userId="e9f6239ee300b592" providerId="LiveId" clId="{5CBC8C95-2B2B-47F0-82EC-153A3C80402B}" dt="2024-08-16T10:25:51.589" v="626" actId="14100"/>
          <ac:spMkLst>
            <pc:docMk/>
            <pc:sldMk cId="335537200" sldId="302"/>
            <ac:spMk id="3" creationId="{25831DBF-28EA-BAF6-146F-42CF4DC3362C}"/>
          </ac:spMkLst>
        </pc:spChg>
        <pc:picChg chg="mod modCrop">
          <ac:chgData name="Dattesh Dattu" userId="e9f6239ee300b592" providerId="LiveId" clId="{5CBC8C95-2B2B-47F0-82EC-153A3C80402B}" dt="2024-08-16T10:25:53.439" v="627" actId="1076"/>
          <ac:picMkLst>
            <pc:docMk/>
            <pc:sldMk cId="335537200" sldId="302"/>
            <ac:picMk id="4" creationId="{4FAF7AE4-457C-439C-2AAA-EFD261EB2C16}"/>
          </ac:picMkLst>
        </pc:picChg>
        <pc:picChg chg="add mod modCrop">
          <ac:chgData name="Dattesh Dattu" userId="e9f6239ee300b592" providerId="LiveId" clId="{5CBC8C95-2B2B-47F0-82EC-153A3C80402B}" dt="2024-08-16T10:25:56.239" v="628" actId="14100"/>
          <ac:picMkLst>
            <pc:docMk/>
            <pc:sldMk cId="335537200" sldId="302"/>
            <ac:picMk id="5" creationId="{0CB65C30-DB50-D6AE-85C6-9036D2E0B7AD}"/>
          </ac:picMkLst>
        </pc:picChg>
        <pc:picChg chg="del">
          <ac:chgData name="Dattesh Dattu" userId="e9f6239ee300b592" providerId="LiveId" clId="{5CBC8C95-2B2B-47F0-82EC-153A3C80402B}" dt="2024-08-16T10:19:14.777" v="596" actId="478"/>
          <ac:picMkLst>
            <pc:docMk/>
            <pc:sldMk cId="335537200" sldId="302"/>
            <ac:picMk id="6" creationId="{37192AD5-16FD-774A-AA38-7364D57E1D4E}"/>
          </ac:picMkLst>
        </pc:picChg>
        <pc:picChg chg="del">
          <ac:chgData name="Dattesh Dattu" userId="e9f6239ee300b592" providerId="LiveId" clId="{5CBC8C95-2B2B-47F0-82EC-153A3C80402B}" dt="2024-08-16T10:19:11.358" v="595" actId="478"/>
          <ac:picMkLst>
            <pc:docMk/>
            <pc:sldMk cId="335537200" sldId="302"/>
            <ac:picMk id="8" creationId="{573FF3A7-D2AF-D854-7260-1C4775E73DC6}"/>
          </ac:picMkLst>
        </pc:picChg>
      </pc:sldChg>
      <pc:sldChg chg="addSp delSp modSp mod modTransition">
        <pc:chgData name="Dattesh Dattu" userId="e9f6239ee300b592" providerId="LiveId" clId="{5CBC8C95-2B2B-47F0-82EC-153A3C80402B}" dt="2024-08-16T11:01:46.431" v="1011" actId="14100"/>
        <pc:sldMkLst>
          <pc:docMk/>
          <pc:sldMk cId="1441520517" sldId="303"/>
        </pc:sldMkLst>
        <pc:spChg chg="mod">
          <ac:chgData name="Dattesh Dattu" userId="e9f6239ee300b592" providerId="LiveId" clId="{5CBC8C95-2B2B-47F0-82EC-153A3C80402B}" dt="2024-08-16T11:01:39.017" v="1009" actId="20577"/>
          <ac:spMkLst>
            <pc:docMk/>
            <pc:sldMk cId="1441520517" sldId="303"/>
            <ac:spMk id="3" creationId="{90819EAA-3AE4-5E43-9FC7-053A3F92E893}"/>
          </ac:spMkLst>
        </pc:spChg>
        <pc:picChg chg="del">
          <ac:chgData name="Dattesh Dattu" userId="e9f6239ee300b592" providerId="LiveId" clId="{5CBC8C95-2B2B-47F0-82EC-153A3C80402B}" dt="2024-08-16T10:24:47.466" v="621" actId="478"/>
          <ac:picMkLst>
            <pc:docMk/>
            <pc:sldMk cId="1441520517" sldId="303"/>
            <ac:picMk id="4" creationId="{8DF358EA-835D-3472-036D-AEE1EEA2E07F}"/>
          </ac:picMkLst>
        </pc:picChg>
        <pc:picChg chg="add mod">
          <ac:chgData name="Dattesh Dattu" userId="e9f6239ee300b592" providerId="LiveId" clId="{5CBC8C95-2B2B-47F0-82EC-153A3C80402B}" dt="2024-08-16T11:01:43.829" v="1010" actId="14100"/>
          <ac:picMkLst>
            <pc:docMk/>
            <pc:sldMk cId="1441520517" sldId="303"/>
            <ac:picMk id="5" creationId="{636C5D58-18CD-C519-5A07-7D36FE45D701}"/>
          </ac:picMkLst>
        </pc:picChg>
        <pc:picChg chg="add mod">
          <ac:chgData name="Dattesh Dattu" userId="e9f6239ee300b592" providerId="LiveId" clId="{5CBC8C95-2B2B-47F0-82EC-153A3C80402B}" dt="2024-08-16T11:01:46.431" v="1011" actId="14100"/>
          <ac:picMkLst>
            <pc:docMk/>
            <pc:sldMk cId="1441520517" sldId="303"/>
            <ac:picMk id="7" creationId="{16D48510-82FD-411B-E3EE-BDA297C0C1DC}"/>
          </ac:picMkLst>
        </pc:picChg>
      </pc:sldChg>
      <pc:sldChg chg="modSp mod modTransition">
        <pc:chgData name="Dattesh Dattu" userId="e9f6239ee300b592" providerId="LiveId" clId="{5CBC8C95-2B2B-47F0-82EC-153A3C80402B}" dt="2024-08-16T10:50:06.835" v="919"/>
        <pc:sldMkLst>
          <pc:docMk/>
          <pc:sldMk cId="25812013" sldId="308"/>
        </pc:sldMkLst>
        <pc:spChg chg="mod">
          <ac:chgData name="Dattesh Dattu" userId="e9f6239ee300b592" providerId="LiveId" clId="{5CBC8C95-2B2B-47F0-82EC-153A3C80402B}" dt="2024-08-16T10:32:54.322" v="775"/>
          <ac:spMkLst>
            <pc:docMk/>
            <pc:sldMk cId="25812013" sldId="308"/>
            <ac:spMk id="4" creationId="{13C46B6A-E7A3-8473-54E5-B434886FAB04}"/>
          </ac:spMkLst>
        </pc:spChg>
      </pc:sldChg>
      <pc:sldChg chg="modSp del mod modTransition">
        <pc:chgData name="Dattesh Dattu" userId="e9f6239ee300b592" providerId="LiveId" clId="{5CBC8C95-2B2B-47F0-82EC-153A3C80402B}" dt="2024-08-16T11:02:07.011" v="1012" actId="47"/>
        <pc:sldMkLst>
          <pc:docMk/>
          <pc:sldMk cId="1166163147" sldId="309"/>
        </pc:sldMkLst>
        <pc:spChg chg="mod">
          <ac:chgData name="Dattesh Dattu" userId="e9f6239ee300b592" providerId="LiveId" clId="{5CBC8C95-2B2B-47F0-82EC-153A3C80402B}" dt="2024-08-16T10:50:07.321" v="925" actId="27636"/>
          <ac:spMkLst>
            <pc:docMk/>
            <pc:sldMk cId="1166163147" sldId="309"/>
            <ac:spMk id="2" creationId="{59BFEA4B-22DE-F61B-D2CE-0CE74D095D93}"/>
          </ac:spMkLst>
        </pc:spChg>
        <pc:spChg chg="mod">
          <ac:chgData name="Dattesh Dattu" userId="e9f6239ee300b592" providerId="LiveId" clId="{5CBC8C95-2B2B-47F0-82EC-153A3C80402B}" dt="2024-08-16T10:31:51.012" v="748" actId="20577"/>
          <ac:spMkLst>
            <pc:docMk/>
            <pc:sldMk cId="1166163147" sldId="309"/>
            <ac:spMk id="3" creationId="{48D419EF-209F-16D0-F909-CA30866FCA24}"/>
          </ac:spMkLst>
        </pc:spChg>
      </pc:sldChg>
      <pc:sldChg chg="modTransition">
        <pc:chgData name="Dattesh Dattu" userId="e9f6239ee300b592" providerId="LiveId" clId="{5CBC8C95-2B2B-47F0-82EC-153A3C80402B}" dt="2024-08-16T10:50:06.835" v="919"/>
        <pc:sldMkLst>
          <pc:docMk/>
          <pc:sldMk cId="2494120701" sldId="310"/>
        </pc:sldMkLst>
      </pc:sldChg>
      <pc:sldChg chg="modSp mod modTransition">
        <pc:chgData name="Dattesh Dattu" userId="e9f6239ee300b592" providerId="LiveId" clId="{5CBC8C95-2B2B-47F0-82EC-153A3C80402B}" dt="2024-08-16T10:45:55.988" v="864"/>
        <pc:sldMkLst>
          <pc:docMk/>
          <pc:sldMk cId="2230281132" sldId="311"/>
        </pc:sldMkLst>
        <pc:spChg chg="mod">
          <ac:chgData name="Dattesh Dattu" userId="e9f6239ee300b592" providerId="LiveId" clId="{5CBC8C95-2B2B-47F0-82EC-153A3C80402B}" dt="2024-08-16T09:46:45.535" v="6" actId="14100"/>
          <ac:spMkLst>
            <pc:docMk/>
            <pc:sldMk cId="2230281132" sldId="311"/>
            <ac:spMk id="2" creationId="{C7D232A6-453E-330A-F1B5-B8CCD562015B}"/>
          </ac:spMkLst>
        </pc:spChg>
      </pc:sldChg>
      <pc:sldChg chg="addSp delSp modSp new mod modTransition">
        <pc:chgData name="Dattesh Dattu" userId="e9f6239ee300b592" providerId="LiveId" clId="{5CBC8C95-2B2B-47F0-82EC-153A3C80402B}" dt="2024-08-16T10:50:06.835" v="919"/>
        <pc:sldMkLst>
          <pc:docMk/>
          <pc:sldMk cId="3490098958" sldId="312"/>
        </pc:sldMkLst>
        <pc:spChg chg="del">
          <ac:chgData name="Dattesh Dattu" userId="e9f6239ee300b592" providerId="LiveId" clId="{5CBC8C95-2B2B-47F0-82EC-153A3C80402B}" dt="2024-08-16T10:07:50.968" v="227" actId="478"/>
          <ac:spMkLst>
            <pc:docMk/>
            <pc:sldMk cId="3490098958" sldId="312"/>
            <ac:spMk id="2" creationId="{754DE643-0F17-493E-4303-8974214F4315}"/>
          </ac:spMkLst>
        </pc:spChg>
        <pc:spChg chg="mod">
          <ac:chgData name="Dattesh Dattu" userId="e9f6239ee300b592" providerId="LiveId" clId="{5CBC8C95-2B2B-47F0-82EC-153A3C80402B}" dt="2024-08-16T10:15:33.239" v="590" actId="207"/>
          <ac:spMkLst>
            <pc:docMk/>
            <pc:sldMk cId="3490098958" sldId="312"/>
            <ac:spMk id="3" creationId="{AE6275BE-7500-2842-8F95-CF0F2CE3A543}"/>
          </ac:spMkLst>
        </pc:spChg>
        <pc:spChg chg="add del mod">
          <ac:chgData name="Dattesh Dattu" userId="e9f6239ee300b592" providerId="LiveId" clId="{5CBC8C95-2B2B-47F0-82EC-153A3C80402B}" dt="2024-08-16T10:10:00.399" v="247" actId="478"/>
          <ac:spMkLst>
            <pc:docMk/>
            <pc:sldMk cId="3490098958" sldId="312"/>
            <ac:spMk id="4" creationId="{4E69A906-5070-A058-E42B-3BEECE7B87C6}"/>
          </ac:spMkLst>
        </pc:spChg>
        <pc:spChg chg="add mod">
          <ac:chgData name="Dattesh Dattu" userId="e9f6239ee300b592" providerId="LiveId" clId="{5CBC8C95-2B2B-47F0-82EC-153A3C80402B}" dt="2024-08-16T10:16:14.710" v="594" actId="14100"/>
          <ac:spMkLst>
            <pc:docMk/>
            <pc:sldMk cId="3490098958" sldId="312"/>
            <ac:spMk id="9" creationId="{FFE68BBF-74C2-1617-80B1-68ADE6C4EC98}"/>
          </ac:spMkLst>
        </pc:spChg>
        <pc:picChg chg="add mod">
          <ac:chgData name="Dattesh Dattu" userId="e9f6239ee300b592" providerId="LiveId" clId="{5CBC8C95-2B2B-47F0-82EC-153A3C80402B}" dt="2024-08-16T10:13:39.587" v="577" actId="1440"/>
          <ac:picMkLst>
            <pc:docMk/>
            <pc:sldMk cId="3490098958" sldId="312"/>
            <ac:picMk id="6" creationId="{A70E295A-6554-64EB-27F2-3441AE2D8ECC}"/>
          </ac:picMkLst>
        </pc:picChg>
        <pc:picChg chg="add mod">
          <ac:chgData name="Dattesh Dattu" userId="e9f6239ee300b592" providerId="LiveId" clId="{5CBC8C95-2B2B-47F0-82EC-153A3C80402B}" dt="2024-08-16T10:13:32.761" v="573" actId="1440"/>
          <ac:picMkLst>
            <pc:docMk/>
            <pc:sldMk cId="3490098958" sldId="312"/>
            <ac:picMk id="8" creationId="{70E1D66D-4570-5FA8-3F1C-EE71E4C898FF}"/>
          </ac:picMkLst>
        </pc:picChg>
        <pc:picChg chg="add mod">
          <ac:chgData name="Dattesh Dattu" userId="e9f6239ee300b592" providerId="LiveId" clId="{5CBC8C95-2B2B-47F0-82EC-153A3C80402B}" dt="2024-08-16T10:16:12.381" v="593" actId="14100"/>
          <ac:picMkLst>
            <pc:docMk/>
            <pc:sldMk cId="3490098958" sldId="312"/>
            <ac:picMk id="11" creationId="{6B0272CF-1BD6-B973-0589-BC33269EA7C4}"/>
          </ac:picMkLst>
        </pc:picChg>
      </pc:sldChg>
      <pc:sldChg chg="addSp modSp new mod">
        <pc:chgData name="Dattesh Dattu" userId="e9f6239ee300b592" providerId="LiveId" clId="{5CBC8C95-2B2B-47F0-82EC-153A3C80402B}" dt="2024-08-16T10:58:14.994" v="989" actId="14100"/>
        <pc:sldMkLst>
          <pc:docMk/>
          <pc:sldMk cId="3150278300" sldId="313"/>
        </pc:sldMkLst>
        <pc:spChg chg="mod">
          <ac:chgData name="Dattesh Dattu" userId="e9f6239ee300b592" providerId="LiveId" clId="{5CBC8C95-2B2B-47F0-82EC-153A3C80402B}" dt="2024-08-16T10:55:44.867" v="977" actId="20577"/>
          <ac:spMkLst>
            <pc:docMk/>
            <pc:sldMk cId="3150278300" sldId="313"/>
            <ac:spMk id="2" creationId="{F20F35FE-0CA4-BA0B-E32D-AC3E191D56AC}"/>
          </ac:spMkLst>
        </pc:spChg>
        <pc:picChg chg="add mod">
          <ac:chgData name="Dattesh Dattu" userId="e9f6239ee300b592" providerId="LiveId" clId="{5CBC8C95-2B2B-47F0-82EC-153A3C80402B}" dt="2024-08-16T10:58:14.994" v="989" actId="14100"/>
          <ac:picMkLst>
            <pc:docMk/>
            <pc:sldMk cId="3150278300" sldId="313"/>
            <ac:picMk id="4" creationId="{DA71FA83-70C8-8894-BC43-5CF83F26FF84}"/>
          </ac:picMkLst>
        </pc:picChg>
        <pc:picChg chg="add mod">
          <ac:chgData name="Dattesh Dattu" userId="e9f6239ee300b592" providerId="LiveId" clId="{5CBC8C95-2B2B-47F0-82EC-153A3C80402B}" dt="2024-08-16T10:58:00.328" v="983" actId="14100"/>
          <ac:picMkLst>
            <pc:docMk/>
            <pc:sldMk cId="3150278300" sldId="313"/>
            <ac:picMk id="6" creationId="{EC25E2C4-988F-6686-5492-F4C7568E7E50}"/>
          </ac:picMkLst>
        </pc:picChg>
        <pc:picChg chg="add mod">
          <ac:chgData name="Dattesh Dattu" userId="e9f6239ee300b592" providerId="LiveId" clId="{5CBC8C95-2B2B-47F0-82EC-153A3C80402B}" dt="2024-08-16T10:58:12.245" v="988" actId="14100"/>
          <ac:picMkLst>
            <pc:docMk/>
            <pc:sldMk cId="3150278300" sldId="313"/>
            <ac:picMk id="8" creationId="{20C1BECD-8EE3-E08C-8D0A-40196170F092}"/>
          </ac:picMkLst>
        </pc:picChg>
      </pc:sldChg>
      <pc:sldMasterChg chg="modTransition modSldLayout">
        <pc:chgData name="Dattesh Dattu" userId="e9f6239ee300b592" providerId="LiveId" clId="{5CBC8C95-2B2B-47F0-82EC-153A3C80402B}" dt="2024-08-16T10:45:55.988" v="864"/>
        <pc:sldMasterMkLst>
          <pc:docMk/>
          <pc:sldMasterMk cId="3290435873" sldId="2147483907"/>
        </pc:sldMasterMkLst>
        <pc:sldLayoutChg chg="modTransition">
          <pc:chgData name="Dattesh Dattu" userId="e9f6239ee300b592" providerId="LiveId" clId="{5CBC8C95-2B2B-47F0-82EC-153A3C80402B}" dt="2024-08-16T10:45:55.988" v="864"/>
          <pc:sldLayoutMkLst>
            <pc:docMk/>
            <pc:sldMasterMk cId="3290435873" sldId="2147483907"/>
            <pc:sldLayoutMk cId="433296819" sldId="2147483908"/>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661683071" sldId="2147483909"/>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3779240363" sldId="2147483910"/>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4186447433" sldId="2147483911"/>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311304501" sldId="2147483912"/>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3755508726" sldId="2147483913"/>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2647395220" sldId="2147483914"/>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3301387678" sldId="2147483915"/>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3366436277" sldId="2147483916"/>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869097135" sldId="2147483917"/>
          </pc:sldLayoutMkLst>
        </pc:sldLayoutChg>
        <pc:sldLayoutChg chg="modTransition">
          <pc:chgData name="Dattesh Dattu" userId="e9f6239ee300b592" providerId="LiveId" clId="{5CBC8C95-2B2B-47F0-82EC-153A3C80402B}" dt="2024-08-16T10:45:55.988" v="864"/>
          <pc:sldLayoutMkLst>
            <pc:docMk/>
            <pc:sldMasterMk cId="3290435873" sldId="2147483907"/>
            <pc:sldLayoutMk cId="2384916397" sldId="2147483918"/>
          </pc:sldLayoutMkLst>
        </pc:sldLayoutChg>
        <pc:sldLayoutChg chg="delSp modTransition">
          <pc:chgData name="Dattesh Dattu" userId="e9f6239ee300b592" providerId="LiveId" clId="{5CBC8C95-2B2B-47F0-82EC-153A3C80402B}" dt="2024-08-16T10:45:55.988" v="864"/>
          <pc:sldLayoutMkLst>
            <pc:docMk/>
            <pc:sldMasterMk cId="3290435873" sldId="2147483907"/>
            <pc:sldLayoutMk cId="139436749" sldId="2147483919"/>
          </pc:sldLayoutMkLst>
          <pc:picChg chg="del">
            <ac:chgData name="Dattesh Dattu" userId="e9f6239ee300b592" providerId="LiveId" clId="{5CBC8C95-2B2B-47F0-82EC-153A3C80402B}" dt="2024-08-16T10:44:48.154" v="847"/>
            <ac:picMkLst>
              <pc:docMk/>
              <pc:sldMasterMk cId="3290435873" sldId="2147483907"/>
              <pc:sldLayoutMk cId="139436749" sldId="2147483919"/>
              <ac:picMk id="3" creationId="{00000000-0000-0000-0000-000000000000}"/>
            </ac:picMkLst>
          </pc:picChg>
        </pc:sldLayoutChg>
        <pc:sldLayoutChg chg="delSp modTransition">
          <pc:chgData name="Dattesh Dattu" userId="e9f6239ee300b592" providerId="LiveId" clId="{5CBC8C95-2B2B-47F0-82EC-153A3C80402B}" dt="2024-08-16T10:45:55.988" v="864"/>
          <pc:sldLayoutMkLst>
            <pc:docMk/>
            <pc:sldMasterMk cId="3290435873" sldId="2147483907"/>
            <pc:sldLayoutMk cId="4240749740" sldId="2147483920"/>
          </pc:sldLayoutMkLst>
          <pc:picChg chg="del">
            <ac:chgData name="Dattesh Dattu" userId="e9f6239ee300b592" providerId="LiveId" clId="{5CBC8C95-2B2B-47F0-82EC-153A3C80402B}" dt="2024-08-16T10:44:48.154" v="847"/>
            <ac:picMkLst>
              <pc:docMk/>
              <pc:sldMasterMk cId="3290435873" sldId="2147483907"/>
              <pc:sldLayoutMk cId="4240749740" sldId="2147483920"/>
              <ac:picMk id="10" creationId="{00000000-0000-0000-0000-000000000000}"/>
            </ac:picMkLst>
          </pc:picChg>
        </pc:sldLayoutChg>
      </pc:sldMasterChg>
      <pc:sldMasterChg chg="modTransition modSldLayout">
        <pc:chgData name="Dattesh Dattu" userId="e9f6239ee300b592" providerId="LiveId" clId="{5CBC8C95-2B2B-47F0-82EC-153A3C80402B}" dt="2024-08-16T10:45:55.988" v="864"/>
        <pc:sldMasterMkLst>
          <pc:docMk/>
          <pc:sldMasterMk cId="3094215967" sldId="2147483921"/>
        </pc:sldMasterMkLst>
        <pc:sldLayoutChg chg="modTransition">
          <pc:chgData name="Dattesh Dattu" userId="e9f6239ee300b592" providerId="LiveId" clId="{5CBC8C95-2B2B-47F0-82EC-153A3C80402B}" dt="2024-08-16T10:45:55.988" v="864"/>
          <pc:sldLayoutMkLst>
            <pc:docMk/>
            <pc:sldMasterMk cId="3094215967" sldId="2147483921"/>
            <pc:sldLayoutMk cId="2417938689" sldId="2147483922"/>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3323024" sldId="2147483923"/>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2156078521" sldId="2147483924"/>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2212105829" sldId="2147483925"/>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1933824208" sldId="2147483926"/>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2076093941" sldId="2147483927"/>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3130640441" sldId="2147483928"/>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1733777145" sldId="2147483929"/>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3256252977" sldId="2147483930"/>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981670670" sldId="2147483931"/>
          </pc:sldLayoutMkLst>
        </pc:sldLayoutChg>
        <pc:sldLayoutChg chg="modTransition">
          <pc:chgData name="Dattesh Dattu" userId="e9f6239ee300b592" providerId="LiveId" clId="{5CBC8C95-2B2B-47F0-82EC-153A3C80402B}" dt="2024-08-16T10:45:55.988" v="864"/>
          <pc:sldLayoutMkLst>
            <pc:docMk/>
            <pc:sldMasterMk cId="3094215967" sldId="2147483921"/>
            <pc:sldLayoutMk cId="839600380" sldId="2147483932"/>
          </pc:sldLayoutMkLst>
        </pc:sldLayoutChg>
      </pc:sldMasterChg>
      <pc:sldMasterChg chg="modTransition modSldLayout">
        <pc:chgData name="Dattesh Dattu" userId="e9f6239ee300b592" providerId="LiveId" clId="{5CBC8C95-2B2B-47F0-82EC-153A3C80402B}" dt="2024-08-16T10:45:13.916" v="852"/>
        <pc:sldMasterMkLst>
          <pc:docMk/>
          <pc:sldMasterMk cId="3535897751" sldId="2147483933"/>
        </pc:sldMasterMkLst>
        <pc:sldLayoutChg chg="modTransition">
          <pc:chgData name="Dattesh Dattu" userId="e9f6239ee300b592" providerId="LiveId" clId="{5CBC8C95-2B2B-47F0-82EC-153A3C80402B}" dt="2024-08-16T10:45:13.916" v="852"/>
          <pc:sldLayoutMkLst>
            <pc:docMk/>
            <pc:sldMasterMk cId="3535897751" sldId="2147483933"/>
            <pc:sldLayoutMk cId="1431302811" sldId="2147483934"/>
          </pc:sldLayoutMkLst>
        </pc:sldLayoutChg>
        <pc:sldLayoutChg chg="modTransition">
          <pc:chgData name="Dattesh Dattu" userId="e9f6239ee300b592" providerId="LiveId" clId="{5CBC8C95-2B2B-47F0-82EC-153A3C80402B}" dt="2024-08-16T10:45:13.916" v="852"/>
          <pc:sldLayoutMkLst>
            <pc:docMk/>
            <pc:sldMasterMk cId="3535897751" sldId="2147483933"/>
            <pc:sldLayoutMk cId="755547313" sldId="2147483936"/>
          </pc:sldLayoutMkLst>
        </pc:sldLayoutChg>
        <pc:sldLayoutChg chg="modTransition">
          <pc:chgData name="Dattesh Dattu" userId="e9f6239ee300b592" providerId="LiveId" clId="{5CBC8C95-2B2B-47F0-82EC-153A3C80402B}" dt="2024-08-16T10:45:13.916" v="852"/>
          <pc:sldLayoutMkLst>
            <pc:docMk/>
            <pc:sldMasterMk cId="3535897751" sldId="2147483933"/>
            <pc:sldLayoutMk cId="4262854031" sldId="2147483939"/>
          </pc:sldLayoutMkLst>
        </pc:sldLayoutChg>
        <pc:sldLayoutChg chg="modTransition">
          <pc:chgData name="Dattesh Dattu" userId="e9f6239ee300b592" providerId="LiveId" clId="{5CBC8C95-2B2B-47F0-82EC-153A3C80402B}" dt="2024-08-16T10:45:13.916" v="852"/>
          <pc:sldLayoutMkLst>
            <pc:docMk/>
            <pc:sldMasterMk cId="3535897751" sldId="2147483933"/>
            <pc:sldLayoutMk cId="3930751369" sldId="2147483940"/>
          </pc:sldLayoutMkLst>
        </pc:sldLayoutChg>
        <pc:sldLayoutChg chg="modTransition">
          <pc:chgData name="Dattesh Dattu" userId="e9f6239ee300b592" providerId="LiveId" clId="{5CBC8C95-2B2B-47F0-82EC-153A3C80402B}" dt="2024-08-16T10:45:13.916" v="852"/>
          <pc:sldLayoutMkLst>
            <pc:docMk/>
            <pc:sldMasterMk cId="3535897751" sldId="2147483933"/>
            <pc:sldLayoutMk cId="2857348864" sldId="2147483942"/>
          </pc:sldLayoutMkLst>
        </pc:sldLayoutChg>
      </pc:sldMasterChg>
      <pc:sldMasterChg chg="modTransition modSldLayout">
        <pc:chgData name="Dattesh Dattu" userId="e9f6239ee300b592" providerId="LiveId" clId="{5CBC8C95-2B2B-47F0-82EC-153A3C80402B}" dt="2024-08-16T10:45:15.672" v="853"/>
        <pc:sldMasterMkLst>
          <pc:docMk/>
          <pc:sldMasterMk cId="2563501620" sldId="2147483947"/>
        </pc:sldMasterMkLst>
        <pc:sldLayoutChg chg="modTransition">
          <pc:chgData name="Dattesh Dattu" userId="e9f6239ee300b592" providerId="LiveId" clId="{5CBC8C95-2B2B-47F0-82EC-153A3C80402B}" dt="2024-08-16T10:45:15.672" v="853"/>
          <pc:sldLayoutMkLst>
            <pc:docMk/>
            <pc:sldMasterMk cId="2563501620" sldId="2147483947"/>
            <pc:sldLayoutMk cId="302527879" sldId="2147483948"/>
          </pc:sldLayoutMkLst>
        </pc:sldLayoutChg>
        <pc:sldLayoutChg chg="modTransition">
          <pc:chgData name="Dattesh Dattu" userId="e9f6239ee300b592" providerId="LiveId" clId="{5CBC8C95-2B2B-47F0-82EC-153A3C80402B}" dt="2024-08-16T10:45:15.672" v="853"/>
          <pc:sldLayoutMkLst>
            <pc:docMk/>
            <pc:sldMasterMk cId="2563501620" sldId="2147483947"/>
            <pc:sldLayoutMk cId="3873022111" sldId="2147483950"/>
          </pc:sldLayoutMkLst>
        </pc:sldLayoutChg>
        <pc:sldLayoutChg chg="modTransition">
          <pc:chgData name="Dattesh Dattu" userId="e9f6239ee300b592" providerId="LiveId" clId="{5CBC8C95-2B2B-47F0-82EC-153A3C80402B}" dt="2024-08-16T10:45:15.672" v="853"/>
          <pc:sldLayoutMkLst>
            <pc:docMk/>
            <pc:sldMasterMk cId="2563501620" sldId="2147483947"/>
            <pc:sldLayoutMk cId="863406820" sldId="2147483953"/>
          </pc:sldLayoutMkLst>
        </pc:sldLayoutChg>
        <pc:sldLayoutChg chg="modTransition">
          <pc:chgData name="Dattesh Dattu" userId="e9f6239ee300b592" providerId="LiveId" clId="{5CBC8C95-2B2B-47F0-82EC-153A3C80402B}" dt="2024-08-16T10:45:15.672" v="853"/>
          <pc:sldLayoutMkLst>
            <pc:docMk/>
            <pc:sldMasterMk cId="2563501620" sldId="2147483947"/>
            <pc:sldLayoutMk cId="2111553019" sldId="2147483954"/>
          </pc:sldLayoutMkLst>
        </pc:sldLayoutChg>
        <pc:sldLayoutChg chg="modTransition">
          <pc:chgData name="Dattesh Dattu" userId="e9f6239ee300b592" providerId="LiveId" clId="{5CBC8C95-2B2B-47F0-82EC-153A3C80402B}" dt="2024-08-16T10:45:15.672" v="853"/>
          <pc:sldLayoutMkLst>
            <pc:docMk/>
            <pc:sldMasterMk cId="2563501620" sldId="2147483947"/>
            <pc:sldLayoutMk cId="426475666" sldId="2147483956"/>
          </pc:sldLayoutMkLst>
        </pc:sldLayoutChg>
      </pc:sldMasterChg>
      <pc:sldMasterChg chg="modTransition modSldLayout">
        <pc:chgData name="Dattesh Dattu" userId="e9f6239ee300b592" providerId="LiveId" clId="{5CBC8C95-2B2B-47F0-82EC-153A3C80402B}" dt="2024-08-16T10:45:55.988" v="864"/>
        <pc:sldMasterMkLst>
          <pc:docMk/>
          <pc:sldMasterMk cId="493438824" sldId="2147483961"/>
        </pc:sldMasterMkLst>
        <pc:sldLayoutChg chg="modTransition">
          <pc:chgData name="Dattesh Dattu" userId="e9f6239ee300b592" providerId="LiveId" clId="{5CBC8C95-2B2B-47F0-82EC-153A3C80402B}" dt="2024-08-16T10:45:55.988" v="864"/>
          <pc:sldLayoutMkLst>
            <pc:docMk/>
            <pc:sldMasterMk cId="493438824" sldId="2147483961"/>
            <pc:sldLayoutMk cId="2122685239" sldId="2147483962"/>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2429528762" sldId="2147483963"/>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2212672064" sldId="2147483964"/>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1142018423" sldId="2147483965"/>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4081559024" sldId="2147483966"/>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2758535887" sldId="2147483967"/>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1960184514" sldId="2147483968"/>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560652545" sldId="2147483969"/>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471800977" sldId="2147483970"/>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2183548333" sldId="2147483971"/>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2245232631" sldId="2147483972"/>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2506050824" sldId="2147483973"/>
          </pc:sldLayoutMkLst>
        </pc:sldLayoutChg>
        <pc:sldLayoutChg chg="modTransition">
          <pc:chgData name="Dattesh Dattu" userId="e9f6239ee300b592" providerId="LiveId" clId="{5CBC8C95-2B2B-47F0-82EC-153A3C80402B}" dt="2024-08-16T10:45:55.988" v="864"/>
          <pc:sldLayoutMkLst>
            <pc:docMk/>
            <pc:sldMasterMk cId="493438824" sldId="2147483961"/>
            <pc:sldLayoutMk cId="1999433322" sldId="2147483974"/>
          </pc:sldLayoutMkLst>
        </pc:sldLayoutChg>
      </pc:sldMasterChg>
      <pc:sldMasterChg chg="modTransition modSldLayout">
        <pc:chgData name="Dattesh Dattu" userId="e9f6239ee300b592" providerId="LiveId" clId="{5CBC8C95-2B2B-47F0-82EC-153A3C80402B}" dt="2024-08-16T10:47:32.708" v="865"/>
        <pc:sldMasterMkLst>
          <pc:docMk/>
          <pc:sldMasterMk cId="484214135" sldId="2147483975"/>
        </pc:sldMasterMkLst>
        <pc:sldLayoutChg chg="modTransition">
          <pc:chgData name="Dattesh Dattu" userId="e9f6239ee300b592" providerId="LiveId" clId="{5CBC8C95-2B2B-47F0-82EC-153A3C80402B}" dt="2024-08-16T10:47:32.708" v="865"/>
          <pc:sldLayoutMkLst>
            <pc:docMk/>
            <pc:sldMasterMk cId="484214135" sldId="2147483975"/>
            <pc:sldLayoutMk cId="3747441405" sldId="2147483976"/>
          </pc:sldLayoutMkLst>
        </pc:sldLayoutChg>
        <pc:sldLayoutChg chg="modTransition">
          <pc:chgData name="Dattesh Dattu" userId="e9f6239ee300b592" providerId="LiveId" clId="{5CBC8C95-2B2B-47F0-82EC-153A3C80402B}" dt="2024-08-16T10:47:32.708" v="865"/>
          <pc:sldLayoutMkLst>
            <pc:docMk/>
            <pc:sldMasterMk cId="484214135" sldId="2147483975"/>
            <pc:sldLayoutMk cId="1702497733" sldId="2147483977"/>
          </pc:sldLayoutMkLst>
        </pc:sldLayoutChg>
        <pc:sldLayoutChg chg="modTransition">
          <pc:chgData name="Dattesh Dattu" userId="e9f6239ee300b592" providerId="LiveId" clId="{5CBC8C95-2B2B-47F0-82EC-153A3C80402B}" dt="2024-08-16T10:47:32.708" v="865"/>
          <pc:sldLayoutMkLst>
            <pc:docMk/>
            <pc:sldMasterMk cId="484214135" sldId="2147483975"/>
            <pc:sldLayoutMk cId="2115358665" sldId="2147483978"/>
          </pc:sldLayoutMkLst>
        </pc:sldLayoutChg>
        <pc:sldLayoutChg chg="modTransition">
          <pc:chgData name="Dattesh Dattu" userId="e9f6239ee300b592" providerId="LiveId" clId="{5CBC8C95-2B2B-47F0-82EC-153A3C80402B}" dt="2024-08-16T10:47:32.708" v="865"/>
          <pc:sldLayoutMkLst>
            <pc:docMk/>
            <pc:sldMasterMk cId="484214135" sldId="2147483975"/>
            <pc:sldLayoutMk cId="1969877919" sldId="2147483979"/>
          </pc:sldLayoutMkLst>
        </pc:sldLayoutChg>
        <pc:sldLayoutChg chg="modTransition">
          <pc:chgData name="Dattesh Dattu" userId="e9f6239ee300b592" providerId="LiveId" clId="{5CBC8C95-2B2B-47F0-82EC-153A3C80402B}" dt="2024-08-16T10:47:32.708" v="865"/>
          <pc:sldLayoutMkLst>
            <pc:docMk/>
            <pc:sldMasterMk cId="484214135" sldId="2147483975"/>
            <pc:sldLayoutMk cId="4131607072" sldId="2147483981"/>
          </pc:sldLayoutMkLst>
        </pc:sldLayoutChg>
        <pc:sldLayoutChg chg="modTransition">
          <pc:chgData name="Dattesh Dattu" userId="e9f6239ee300b592" providerId="LiveId" clId="{5CBC8C95-2B2B-47F0-82EC-153A3C80402B}" dt="2024-08-16T10:47:32.708" v="865"/>
          <pc:sldLayoutMkLst>
            <pc:docMk/>
            <pc:sldMasterMk cId="484214135" sldId="2147483975"/>
            <pc:sldLayoutMk cId="1579212344" sldId="2147483982"/>
          </pc:sldLayoutMkLst>
        </pc:sldLayoutChg>
        <pc:sldLayoutChg chg="modTransition">
          <pc:chgData name="Dattesh Dattu" userId="e9f6239ee300b592" providerId="LiveId" clId="{5CBC8C95-2B2B-47F0-82EC-153A3C80402B}" dt="2024-08-16T10:47:32.708" v="865"/>
          <pc:sldLayoutMkLst>
            <pc:docMk/>
            <pc:sldMasterMk cId="484214135" sldId="2147483975"/>
            <pc:sldLayoutMk cId="3090543999" sldId="2147483983"/>
          </pc:sldLayoutMkLst>
        </pc:sldLayoutChg>
        <pc:sldLayoutChg chg="modTransition">
          <pc:chgData name="Dattesh Dattu" userId="e9f6239ee300b592" providerId="LiveId" clId="{5CBC8C95-2B2B-47F0-82EC-153A3C80402B}" dt="2024-08-16T10:47:32.708" v="865"/>
          <pc:sldLayoutMkLst>
            <pc:docMk/>
            <pc:sldMasterMk cId="484214135" sldId="2147483975"/>
            <pc:sldLayoutMk cId="1995569632" sldId="2147483984"/>
          </pc:sldLayoutMkLst>
        </pc:sldLayoutChg>
        <pc:sldLayoutChg chg="modTransition">
          <pc:chgData name="Dattesh Dattu" userId="e9f6239ee300b592" providerId="LiveId" clId="{5CBC8C95-2B2B-47F0-82EC-153A3C80402B}" dt="2024-08-16T10:47:32.708" v="865"/>
          <pc:sldLayoutMkLst>
            <pc:docMk/>
            <pc:sldMasterMk cId="484214135" sldId="2147483975"/>
            <pc:sldLayoutMk cId="2210896040" sldId="2147483985"/>
          </pc:sldLayoutMkLst>
        </pc:sldLayoutChg>
        <pc:sldLayoutChg chg="modTransition">
          <pc:chgData name="Dattesh Dattu" userId="e9f6239ee300b592" providerId="LiveId" clId="{5CBC8C95-2B2B-47F0-82EC-153A3C80402B}" dt="2024-08-16T10:47:32.708" v="865"/>
          <pc:sldLayoutMkLst>
            <pc:docMk/>
            <pc:sldMasterMk cId="484214135" sldId="2147483975"/>
            <pc:sldLayoutMk cId="3001276397" sldId="2147483986"/>
          </pc:sldLayoutMkLst>
        </pc:sldLayoutChg>
      </pc:sldMasterChg>
      <pc:sldMasterChg chg="modTransition modSldLayout">
        <pc:chgData name="Dattesh Dattu" userId="e9f6239ee300b592" providerId="LiveId" clId="{5CBC8C95-2B2B-47F0-82EC-153A3C80402B}" dt="2024-08-16T10:48:24.943" v="877"/>
        <pc:sldMasterMkLst>
          <pc:docMk/>
          <pc:sldMasterMk cId="2802063822" sldId="2147483989"/>
        </pc:sldMasterMkLst>
        <pc:sldLayoutChg chg="modTransition">
          <pc:chgData name="Dattesh Dattu" userId="e9f6239ee300b592" providerId="LiveId" clId="{5CBC8C95-2B2B-47F0-82EC-153A3C80402B}" dt="2024-08-16T10:48:24.943" v="877"/>
          <pc:sldLayoutMkLst>
            <pc:docMk/>
            <pc:sldMasterMk cId="2802063822" sldId="2147483989"/>
            <pc:sldLayoutMk cId="2358564725" sldId="2147483990"/>
          </pc:sldLayoutMkLst>
        </pc:sldLayoutChg>
        <pc:sldLayoutChg chg="modTransition">
          <pc:chgData name="Dattesh Dattu" userId="e9f6239ee300b592" providerId="LiveId" clId="{5CBC8C95-2B2B-47F0-82EC-153A3C80402B}" dt="2024-08-16T10:48:24.943" v="877"/>
          <pc:sldLayoutMkLst>
            <pc:docMk/>
            <pc:sldMasterMk cId="2802063822" sldId="2147483989"/>
            <pc:sldLayoutMk cId="2899265618" sldId="2147483991"/>
          </pc:sldLayoutMkLst>
        </pc:sldLayoutChg>
        <pc:sldLayoutChg chg="modTransition">
          <pc:chgData name="Dattesh Dattu" userId="e9f6239ee300b592" providerId="LiveId" clId="{5CBC8C95-2B2B-47F0-82EC-153A3C80402B}" dt="2024-08-16T10:48:24.943" v="877"/>
          <pc:sldLayoutMkLst>
            <pc:docMk/>
            <pc:sldMasterMk cId="2802063822" sldId="2147483989"/>
            <pc:sldLayoutMk cId="1225114021" sldId="2147483992"/>
          </pc:sldLayoutMkLst>
        </pc:sldLayoutChg>
        <pc:sldLayoutChg chg="modTransition">
          <pc:chgData name="Dattesh Dattu" userId="e9f6239ee300b592" providerId="LiveId" clId="{5CBC8C95-2B2B-47F0-82EC-153A3C80402B}" dt="2024-08-16T10:48:24.943" v="877"/>
          <pc:sldLayoutMkLst>
            <pc:docMk/>
            <pc:sldMasterMk cId="2802063822" sldId="2147483989"/>
            <pc:sldLayoutMk cId="3426317799" sldId="2147483993"/>
          </pc:sldLayoutMkLst>
        </pc:sldLayoutChg>
        <pc:sldLayoutChg chg="modTransition">
          <pc:chgData name="Dattesh Dattu" userId="e9f6239ee300b592" providerId="LiveId" clId="{5CBC8C95-2B2B-47F0-82EC-153A3C80402B}" dt="2024-08-16T10:48:24.943" v="877"/>
          <pc:sldLayoutMkLst>
            <pc:docMk/>
            <pc:sldMasterMk cId="2802063822" sldId="2147483989"/>
            <pc:sldLayoutMk cId="3529732352" sldId="2147483995"/>
          </pc:sldLayoutMkLst>
        </pc:sldLayoutChg>
        <pc:sldLayoutChg chg="modTransition">
          <pc:chgData name="Dattesh Dattu" userId="e9f6239ee300b592" providerId="LiveId" clId="{5CBC8C95-2B2B-47F0-82EC-153A3C80402B}" dt="2024-08-16T10:48:24.943" v="877"/>
          <pc:sldLayoutMkLst>
            <pc:docMk/>
            <pc:sldMasterMk cId="2802063822" sldId="2147483989"/>
            <pc:sldLayoutMk cId="3945019928" sldId="2147483996"/>
          </pc:sldLayoutMkLst>
        </pc:sldLayoutChg>
        <pc:sldLayoutChg chg="modTransition">
          <pc:chgData name="Dattesh Dattu" userId="e9f6239ee300b592" providerId="LiveId" clId="{5CBC8C95-2B2B-47F0-82EC-153A3C80402B}" dt="2024-08-16T10:48:24.943" v="877"/>
          <pc:sldLayoutMkLst>
            <pc:docMk/>
            <pc:sldMasterMk cId="2802063822" sldId="2147483989"/>
            <pc:sldLayoutMk cId="1422152356" sldId="2147483997"/>
          </pc:sldLayoutMkLst>
        </pc:sldLayoutChg>
        <pc:sldLayoutChg chg="modTransition">
          <pc:chgData name="Dattesh Dattu" userId="e9f6239ee300b592" providerId="LiveId" clId="{5CBC8C95-2B2B-47F0-82EC-153A3C80402B}" dt="2024-08-16T10:48:24.943" v="877"/>
          <pc:sldLayoutMkLst>
            <pc:docMk/>
            <pc:sldMasterMk cId="2802063822" sldId="2147483989"/>
            <pc:sldLayoutMk cId="3144679658" sldId="2147483998"/>
          </pc:sldLayoutMkLst>
        </pc:sldLayoutChg>
        <pc:sldLayoutChg chg="modTransition">
          <pc:chgData name="Dattesh Dattu" userId="e9f6239ee300b592" providerId="LiveId" clId="{5CBC8C95-2B2B-47F0-82EC-153A3C80402B}" dt="2024-08-16T10:48:24.943" v="877"/>
          <pc:sldLayoutMkLst>
            <pc:docMk/>
            <pc:sldMasterMk cId="2802063822" sldId="2147483989"/>
            <pc:sldLayoutMk cId="1449637146" sldId="2147483999"/>
          </pc:sldLayoutMkLst>
        </pc:sldLayoutChg>
        <pc:sldLayoutChg chg="modTransition">
          <pc:chgData name="Dattesh Dattu" userId="e9f6239ee300b592" providerId="LiveId" clId="{5CBC8C95-2B2B-47F0-82EC-153A3C80402B}" dt="2024-08-16T10:48:24.943" v="877"/>
          <pc:sldLayoutMkLst>
            <pc:docMk/>
            <pc:sldMasterMk cId="2802063822" sldId="2147483989"/>
            <pc:sldLayoutMk cId="4202587276" sldId="2147484000"/>
          </pc:sldLayoutMkLst>
        </pc:sldLayoutChg>
      </pc:sldMasterChg>
      <pc:sldMasterChg chg="modTransition modSldLayout">
        <pc:chgData name="Dattesh Dattu" userId="e9f6239ee300b592" providerId="LiveId" clId="{5CBC8C95-2B2B-47F0-82EC-153A3C80402B}" dt="2024-08-16T10:48:53.771" v="883"/>
        <pc:sldMasterMkLst>
          <pc:docMk/>
          <pc:sldMasterMk cId="2528088775" sldId="2147484003"/>
        </pc:sldMasterMkLst>
        <pc:sldLayoutChg chg="modTransition">
          <pc:chgData name="Dattesh Dattu" userId="e9f6239ee300b592" providerId="LiveId" clId="{5CBC8C95-2B2B-47F0-82EC-153A3C80402B}" dt="2024-08-16T10:48:53.771" v="883"/>
          <pc:sldLayoutMkLst>
            <pc:docMk/>
            <pc:sldMasterMk cId="2528088775" sldId="2147484003"/>
            <pc:sldLayoutMk cId="4197307068" sldId="2147484004"/>
          </pc:sldLayoutMkLst>
        </pc:sldLayoutChg>
        <pc:sldLayoutChg chg="modTransition">
          <pc:chgData name="Dattesh Dattu" userId="e9f6239ee300b592" providerId="LiveId" clId="{5CBC8C95-2B2B-47F0-82EC-153A3C80402B}" dt="2024-08-16T10:48:53.771" v="883"/>
          <pc:sldLayoutMkLst>
            <pc:docMk/>
            <pc:sldMasterMk cId="2528088775" sldId="2147484003"/>
            <pc:sldLayoutMk cId="3688946306" sldId="2147484005"/>
          </pc:sldLayoutMkLst>
        </pc:sldLayoutChg>
        <pc:sldLayoutChg chg="modTransition">
          <pc:chgData name="Dattesh Dattu" userId="e9f6239ee300b592" providerId="LiveId" clId="{5CBC8C95-2B2B-47F0-82EC-153A3C80402B}" dt="2024-08-16T10:48:53.771" v="883"/>
          <pc:sldLayoutMkLst>
            <pc:docMk/>
            <pc:sldMasterMk cId="2528088775" sldId="2147484003"/>
            <pc:sldLayoutMk cId="1422134471" sldId="2147484006"/>
          </pc:sldLayoutMkLst>
        </pc:sldLayoutChg>
        <pc:sldLayoutChg chg="modTransition">
          <pc:chgData name="Dattesh Dattu" userId="e9f6239ee300b592" providerId="LiveId" clId="{5CBC8C95-2B2B-47F0-82EC-153A3C80402B}" dt="2024-08-16T10:48:53.771" v="883"/>
          <pc:sldLayoutMkLst>
            <pc:docMk/>
            <pc:sldMasterMk cId="2528088775" sldId="2147484003"/>
            <pc:sldLayoutMk cId="2776179968" sldId="2147484007"/>
          </pc:sldLayoutMkLst>
        </pc:sldLayoutChg>
        <pc:sldLayoutChg chg="modTransition">
          <pc:chgData name="Dattesh Dattu" userId="e9f6239ee300b592" providerId="LiveId" clId="{5CBC8C95-2B2B-47F0-82EC-153A3C80402B}" dt="2024-08-16T10:48:53.771" v="883"/>
          <pc:sldLayoutMkLst>
            <pc:docMk/>
            <pc:sldMasterMk cId="2528088775" sldId="2147484003"/>
            <pc:sldLayoutMk cId="2484411751" sldId="2147484009"/>
          </pc:sldLayoutMkLst>
        </pc:sldLayoutChg>
        <pc:sldLayoutChg chg="modTransition">
          <pc:chgData name="Dattesh Dattu" userId="e9f6239ee300b592" providerId="LiveId" clId="{5CBC8C95-2B2B-47F0-82EC-153A3C80402B}" dt="2024-08-16T10:48:53.771" v="883"/>
          <pc:sldLayoutMkLst>
            <pc:docMk/>
            <pc:sldMasterMk cId="2528088775" sldId="2147484003"/>
            <pc:sldLayoutMk cId="4070374019" sldId="2147484010"/>
          </pc:sldLayoutMkLst>
        </pc:sldLayoutChg>
        <pc:sldLayoutChg chg="modTransition">
          <pc:chgData name="Dattesh Dattu" userId="e9f6239ee300b592" providerId="LiveId" clId="{5CBC8C95-2B2B-47F0-82EC-153A3C80402B}" dt="2024-08-16T10:48:53.771" v="883"/>
          <pc:sldLayoutMkLst>
            <pc:docMk/>
            <pc:sldMasterMk cId="2528088775" sldId="2147484003"/>
            <pc:sldLayoutMk cId="1152111240" sldId="2147484011"/>
          </pc:sldLayoutMkLst>
        </pc:sldLayoutChg>
        <pc:sldLayoutChg chg="modTransition">
          <pc:chgData name="Dattesh Dattu" userId="e9f6239ee300b592" providerId="LiveId" clId="{5CBC8C95-2B2B-47F0-82EC-153A3C80402B}" dt="2024-08-16T10:48:53.771" v="883"/>
          <pc:sldLayoutMkLst>
            <pc:docMk/>
            <pc:sldMasterMk cId="2528088775" sldId="2147484003"/>
            <pc:sldLayoutMk cId="2794327125" sldId="2147484012"/>
          </pc:sldLayoutMkLst>
        </pc:sldLayoutChg>
        <pc:sldLayoutChg chg="modTransition">
          <pc:chgData name="Dattesh Dattu" userId="e9f6239ee300b592" providerId="LiveId" clId="{5CBC8C95-2B2B-47F0-82EC-153A3C80402B}" dt="2024-08-16T10:48:53.771" v="883"/>
          <pc:sldLayoutMkLst>
            <pc:docMk/>
            <pc:sldMasterMk cId="2528088775" sldId="2147484003"/>
            <pc:sldLayoutMk cId="1469964591" sldId="2147484013"/>
          </pc:sldLayoutMkLst>
        </pc:sldLayoutChg>
        <pc:sldLayoutChg chg="modTransition">
          <pc:chgData name="Dattesh Dattu" userId="e9f6239ee300b592" providerId="LiveId" clId="{5CBC8C95-2B2B-47F0-82EC-153A3C80402B}" dt="2024-08-16T10:48:53.771" v="883"/>
          <pc:sldLayoutMkLst>
            <pc:docMk/>
            <pc:sldMasterMk cId="2528088775" sldId="2147484003"/>
            <pc:sldLayoutMk cId="2319023744" sldId="2147484014"/>
          </pc:sldLayoutMkLst>
        </pc:sldLayoutChg>
      </pc:sldMasterChg>
      <pc:sldMasterChg chg="modTransition modSldLayout">
        <pc:chgData name="Dattesh Dattu" userId="e9f6239ee300b592" providerId="LiveId" clId="{5CBC8C95-2B2B-47F0-82EC-153A3C80402B}" dt="2024-08-16T10:49:03.552" v="889"/>
        <pc:sldMasterMkLst>
          <pc:docMk/>
          <pc:sldMasterMk cId="733863103" sldId="2147484017"/>
        </pc:sldMasterMkLst>
        <pc:sldLayoutChg chg="modTransition">
          <pc:chgData name="Dattesh Dattu" userId="e9f6239ee300b592" providerId="LiveId" clId="{5CBC8C95-2B2B-47F0-82EC-153A3C80402B}" dt="2024-08-16T10:49:03.552" v="889"/>
          <pc:sldLayoutMkLst>
            <pc:docMk/>
            <pc:sldMasterMk cId="733863103" sldId="2147484017"/>
            <pc:sldLayoutMk cId="2506161411" sldId="2147484018"/>
          </pc:sldLayoutMkLst>
        </pc:sldLayoutChg>
        <pc:sldLayoutChg chg="modTransition">
          <pc:chgData name="Dattesh Dattu" userId="e9f6239ee300b592" providerId="LiveId" clId="{5CBC8C95-2B2B-47F0-82EC-153A3C80402B}" dt="2024-08-16T10:49:03.552" v="889"/>
          <pc:sldLayoutMkLst>
            <pc:docMk/>
            <pc:sldMasterMk cId="733863103" sldId="2147484017"/>
            <pc:sldLayoutMk cId="4108707396" sldId="2147484019"/>
          </pc:sldLayoutMkLst>
        </pc:sldLayoutChg>
        <pc:sldLayoutChg chg="modTransition">
          <pc:chgData name="Dattesh Dattu" userId="e9f6239ee300b592" providerId="LiveId" clId="{5CBC8C95-2B2B-47F0-82EC-153A3C80402B}" dt="2024-08-16T10:49:03.552" v="889"/>
          <pc:sldLayoutMkLst>
            <pc:docMk/>
            <pc:sldMasterMk cId="733863103" sldId="2147484017"/>
            <pc:sldLayoutMk cId="327447356" sldId="2147484020"/>
          </pc:sldLayoutMkLst>
        </pc:sldLayoutChg>
        <pc:sldLayoutChg chg="modTransition">
          <pc:chgData name="Dattesh Dattu" userId="e9f6239ee300b592" providerId="LiveId" clId="{5CBC8C95-2B2B-47F0-82EC-153A3C80402B}" dt="2024-08-16T10:49:03.552" v="889"/>
          <pc:sldLayoutMkLst>
            <pc:docMk/>
            <pc:sldMasterMk cId="733863103" sldId="2147484017"/>
            <pc:sldLayoutMk cId="3810238012" sldId="2147484021"/>
          </pc:sldLayoutMkLst>
        </pc:sldLayoutChg>
        <pc:sldLayoutChg chg="modTransition">
          <pc:chgData name="Dattesh Dattu" userId="e9f6239ee300b592" providerId="LiveId" clId="{5CBC8C95-2B2B-47F0-82EC-153A3C80402B}" dt="2024-08-16T10:49:03.552" v="889"/>
          <pc:sldLayoutMkLst>
            <pc:docMk/>
            <pc:sldMasterMk cId="733863103" sldId="2147484017"/>
            <pc:sldLayoutMk cId="753604525" sldId="2147484023"/>
          </pc:sldLayoutMkLst>
        </pc:sldLayoutChg>
        <pc:sldLayoutChg chg="modTransition">
          <pc:chgData name="Dattesh Dattu" userId="e9f6239ee300b592" providerId="LiveId" clId="{5CBC8C95-2B2B-47F0-82EC-153A3C80402B}" dt="2024-08-16T10:49:03.552" v="889"/>
          <pc:sldLayoutMkLst>
            <pc:docMk/>
            <pc:sldMasterMk cId="733863103" sldId="2147484017"/>
            <pc:sldLayoutMk cId="2901025339" sldId="2147484024"/>
          </pc:sldLayoutMkLst>
        </pc:sldLayoutChg>
        <pc:sldLayoutChg chg="modTransition">
          <pc:chgData name="Dattesh Dattu" userId="e9f6239ee300b592" providerId="LiveId" clId="{5CBC8C95-2B2B-47F0-82EC-153A3C80402B}" dt="2024-08-16T10:49:03.552" v="889"/>
          <pc:sldLayoutMkLst>
            <pc:docMk/>
            <pc:sldMasterMk cId="733863103" sldId="2147484017"/>
            <pc:sldLayoutMk cId="1780879296" sldId="2147484025"/>
          </pc:sldLayoutMkLst>
        </pc:sldLayoutChg>
        <pc:sldLayoutChg chg="modTransition">
          <pc:chgData name="Dattesh Dattu" userId="e9f6239ee300b592" providerId="LiveId" clId="{5CBC8C95-2B2B-47F0-82EC-153A3C80402B}" dt="2024-08-16T10:49:03.552" v="889"/>
          <pc:sldLayoutMkLst>
            <pc:docMk/>
            <pc:sldMasterMk cId="733863103" sldId="2147484017"/>
            <pc:sldLayoutMk cId="3971775942" sldId="2147484026"/>
          </pc:sldLayoutMkLst>
        </pc:sldLayoutChg>
        <pc:sldLayoutChg chg="modTransition">
          <pc:chgData name="Dattesh Dattu" userId="e9f6239ee300b592" providerId="LiveId" clId="{5CBC8C95-2B2B-47F0-82EC-153A3C80402B}" dt="2024-08-16T10:49:03.552" v="889"/>
          <pc:sldLayoutMkLst>
            <pc:docMk/>
            <pc:sldMasterMk cId="733863103" sldId="2147484017"/>
            <pc:sldLayoutMk cId="3451124000" sldId="2147484027"/>
          </pc:sldLayoutMkLst>
        </pc:sldLayoutChg>
        <pc:sldLayoutChg chg="modTransition">
          <pc:chgData name="Dattesh Dattu" userId="e9f6239ee300b592" providerId="LiveId" clId="{5CBC8C95-2B2B-47F0-82EC-153A3C80402B}" dt="2024-08-16T10:49:03.552" v="889"/>
          <pc:sldLayoutMkLst>
            <pc:docMk/>
            <pc:sldMasterMk cId="733863103" sldId="2147484017"/>
            <pc:sldLayoutMk cId="1724422383" sldId="2147484028"/>
          </pc:sldLayoutMkLst>
        </pc:sldLayoutChg>
      </pc:sldMasterChg>
      <pc:sldMasterChg chg="modTransition modSldLayout">
        <pc:chgData name="Dattesh Dattu" userId="e9f6239ee300b592" providerId="LiveId" clId="{5CBC8C95-2B2B-47F0-82EC-153A3C80402B}" dt="2024-08-16T10:49:06.184" v="893"/>
        <pc:sldMasterMkLst>
          <pc:docMk/>
          <pc:sldMasterMk cId="3755761940" sldId="2147484031"/>
        </pc:sldMasterMkLst>
        <pc:sldLayoutChg chg="modTransition">
          <pc:chgData name="Dattesh Dattu" userId="e9f6239ee300b592" providerId="LiveId" clId="{5CBC8C95-2B2B-47F0-82EC-153A3C80402B}" dt="2024-08-16T10:49:06.184" v="893"/>
          <pc:sldLayoutMkLst>
            <pc:docMk/>
            <pc:sldMasterMk cId="3755761940" sldId="2147484031"/>
            <pc:sldLayoutMk cId="2105021539" sldId="2147484032"/>
          </pc:sldLayoutMkLst>
        </pc:sldLayoutChg>
        <pc:sldLayoutChg chg="modTransition">
          <pc:chgData name="Dattesh Dattu" userId="e9f6239ee300b592" providerId="LiveId" clId="{5CBC8C95-2B2B-47F0-82EC-153A3C80402B}" dt="2024-08-16T10:49:06.184" v="893"/>
          <pc:sldLayoutMkLst>
            <pc:docMk/>
            <pc:sldMasterMk cId="3755761940" sldId="2147484031"/>
            <pc:sldLayoutMk cId="4063150652" sldId="2147484033"/>
          </pc:sldLayoutMkLst>
        </pc:sldLayoutChg>
        <pc:sldLayoutChg chg="modTransition">
          <pc:chgData name="Dattesh Dattu" userId="e9f6239ee300b592" providerId="LiveId" clId="{5CBC8C95-2B2B-47F0-82EC-153A3C80402B}" dt="2024-08-16T10:49:06.184" v="893"/>
          <pc:sldLayoutMkLst>
            <pc:docMk/>
            <pc:sldMasterMk cId="3755761940" sldId="2147484031"/>
            <pc:sldLayoutMk cId="1882763828" sldId="2147484034"/>
          </pc:sldLayoutMkLst>
        </pc:sldLayoutChg>
        <pc:sldLayoutChg chg="modTransition">
          <pc:chgData name="Dattesh Dattu" userId="e9f6239ee300b592" providerId="LiveId" clId="{5CBC8C95-2B2B-47F0-82EC-153A3C80402B}" dt="2024-08-16T10:49:06.184" v="893"/>
          <pc:sldLayoutMkLst>
            <pc:docMk/>
            <pc:sldMasterMk cId="3755761940" sldId="2147484031"/>
            <pc:sldLayoutMk cId="4142479840" sldId="2147484035"/>
          </pc:sldLayoutMkLst>
        </pc:sldLayoutChg>
        <pc:sldLayoutChg chg="modTransition">
          <pc:chgData name="Dattesh Dattu" userId="e9f6239ee300b592" providerId="LiveId" clId="{5CBC8C95-2B2B-47F0-82EC-153A3C80402B}" dt="2024-08-16T10:49:06.184" v="893"/>
          <pc:sldLayoutMkLst>
            <pc:docMk/>
            <pc:sldMasterMk cId="3755761940" sldId="2147484031"/>
            <pc:sldLayoutMk cId="807948463" sldId="2147484037"/>
          </pc:sldLayoutMkLst>
        </pc:sldLayoutChg>
        <pc:sldLayoutChg chg="modTransition">
          <pc:chgData name="Dattesh Dattu" userId="e9f6239ee300b592" providerId="LiveId" clId="{5CBC8C95-2B2B-47F0-82EC-153A3C80402B}" dt="2024-08-16T10:49:06.184" v="893"/>
          <pc:sldLayoutMkLst>
            <pc:docMk/>
            <pc:sldMasterMk cId="3755761940" sldId="2147484031"/>
            <pc:sldLayoutMk cId="3462243313" sldId="2147484038"/>
          </pc:sldLayoutMkLst>
        </pc:sldLayoutChg>
        <pc:sldLayoutChg chg="modTransition">
          <pc:chgData name="Dattesh Dattu" userId="e9f6239ee300b592" providerId="LiveId" clId="{5CBC8C95-2B2B-47F0-82EC-153A3C80402B}" dt="2024-08-16T10:49:06.184" v="893"/>
          <pc:sldLayoutMkLst>
            <pc:docMk/>
            <pc:sldMasterMk cId="3755761940" sldId="2147484031"/>
            <pc:sldLayoutMk cId="2616016436" sldId="2147484039"/>
          </pc:sldLayoutMkLst>
        </pc:sldLayoutChg>
        <pc:sldLayoutChg chg="modTransition">
          <pc:chgData name="Dattesh Dattu" userId="e9f6239ee300b592" providerId="LiveId" clId="{5CBC8C95-2B2B-47F0-82EC-153A3C80402B}" dt="2024-08-16T10:49:06.184" v="893"/>
          <pc:sldLayoutMkLst>
            <pc:docMk/>
            <pc:sldMasterMk cId="3755761940" sldId="2147484031"/>
            <pc:sldLayoutMk cId="4093713402" sldId="2147484040"/>
          </pc:sldLayoutMkLst>
        </pc:sldLayoutChg>
        <pc:sldLayoutChg chg="modTransition">
          <pc:chgData name="Dattesh Dattu" userId="e9f6239ee300b592" providerId="LiveId" clId="{5CBC8C95-2B2B-47F0-82EC-153A3C80402B}" dt="2024-08-16T10:49:06.184" v="893"/>
          <pc:sldLayoutMkLst>
            <pc:docMk/>
            <pc:sldMasterMk cId="3755761940" sldId="2147484031"/>
            <pc:sldLayoutMk cId="3580103048" sldId="2147484041"/>
          </pc:sldLayoutMkLst>
        </pc:sldLayoutChg>
        <pc:sldLayoutChg chg="modTransition">
          <pc:chgData name="Dattesh Dattu" userId="e9f6239ee300b592" providerId="LiveId" clId="{5CBC8C95-2B2B-47F0-82EC-153A3C80402B}" dt="2024-08-16T10:49:06.184" v="893"/>
          <pc:sldLayoutMkLst>
            <pc:docMk/>
            <pc:sldMasterMk cId="3755761940" sldId="2147484031"/>
            <pc:sldLayoutMk cId="3313746980" sldId="2147484042"/>
          </pc:sldLayoutMkLst>
        </pc:sldLayoutChg>
      </pc:sldMasterChg>
      <pc:sldMasterChg chg="modTransition modSldLayout">
        <pc:chgData name="Dattesh Dattu" userId="e9f6239ee300b592" providerId="LiveId" clId="{5CBC8C95-2B2B-47F0-82EC-153A3C80402B}" dt="2024-08-16T10:49:08.920" v="897"/>
        <pc:sldMasterMkLst>
          <pc:docMk/>
          <pc:sldMasterMk cId="3957800653" sldId="2147484045"/>
        </pc:sldMasterMkLst>
        <pc:sldLayoutChg chg="modTransition">
          <pc:chgData name="Dattesh Dattu" userId="e9f6239ee300b592" providerId="LiveId" clId="{5CBC8C95-2B2B-47F0-82EC-153A3C80402B}" dt="2024-08-16T10:49:08.920" v="897"/>
          <pc:sldLayoutMkLst>
            <pc:docMk/>
            <pc:sldMasterMk cId="3957800653" sldId="2147484045"/>
            <pc:sldLayoutMk cId="2196937773" sldId="2147484046"/>
          </pc:sldLayoutMkLst>
        </pc:sldLayoutChg>
        <pc:sldLayoutChg chg="modTransition">
          <pc:chgData name="Dattesh Dattu" userId="e9f6239ee300b592" providerId="LiveId" clId="{5CBC8C95-2B2B-47F0-82EC-153A3C80402B}" dt="2024-08-16T10:49:08.920" v="897"/>
          <pc:sldLayoutMkLst>
            <pc:docMk/>
            <pc:sldMasterMk cId="3957800653" sldId="2147484045"/>
            <pc:sldLayoutMk cId="201249615" sldId="2147484047"/>
          </pc:sldLayoutMkLst>
        </pc:sldLayoutChg>
        <pc:sldLayoutChg chg="modTransition">
          <pc:chgData name="Dattesh Dattu" userId="e9f6239ee300b592" providerId="LiveId" clId="{5CBC8C95-2B2B-47F0-82EC-153A3C80402B}" dt="2024-08-16T10:49:08.920" v="897"/>
          <pc:sldLayoutMkLst>
            <pc:docMk/>
            <pc:sldMasterMk cId="3957800653" sldId="2147484045"/>
            <pc:sldLayoutMk cId="1818873949" sldId="2147484048"/>
          </pc:sldLayoutMkLst>
        </pc:sldLayoutChg>
        <pc:sldLayoutChg chg="modTransition">
          <pc:chgData name="Dattesh Dattu" userId="e9f6239ee300b592" providerId="LiveId" clId="{5CBC8C95-2B2B-47F0-82EC-153A3C80402B}" dt="2024-08-16T10:49:08.920" v="897"/>
          <pc:sldLayoutMkLst>
            <pc:docMk/>
            <pc:sldMasterMk cId="3957800653" sldId="2147484045"/>
            <pc:sldLayoutMk cId="3991265642" sldId="2147484049"/>
          </pc:sldLayoutMkLst>
        </pc:sldLayoutChg>
        <pc:sldLayoutChg chg="modTransition">
          <pc:chgData name="Dattesh Dattu" userId="e9f6239ee300b592" providerId="LiveId" clId="{5CBC8C95-2B2B-47F0-82EC-153A3C80402B}" dt="2024-08-16T10:49:08.920" v="897"/>
          <pc:sldLayoutMkLst>
            <pc:docMk/>
            <pc:sldMasterMk cId="3957800653" sldId="2147484045"/>
            <pc:sldLayoutMk cId="2325750013" sldId="2147484051"/>
          </pc:sldLayoutMkLst>
        </pc:sldLayoutChg>
        <pc:sldLayoutChg chg="modTransition">
          <pc:chgData name="Dattesh Dattu" userId="e9f6239ee300b592" providerId="LiveId" clId="{5CBC8C95-2B2B-47F0-82EC-153A3C80402B}" dt="2024-08-16T10:49:08.920" v="897"/>
          <pc:sldLayoutMkLst>
            <pc:docMk/>
            <pc:sldMasterMk cId="3957800653" sldId="2147484045"/>
            <pc:sldLayoutMk cId="457543862" sldId="2147484052"/>
          </pc:sldLayoutMkLst>
        </pc:sldLayoutChg>
        <pc:sldLayoutChg chg="modTransition">
          <pc:chgData name="Dattesh Dattu" userId="e9f6239ee300b592" providerId="LiveId" clId="{5CBC8C95-2B2B-47F0-82EC-153A3C80402B}" dt="2024-08-16T10:49:08.920" v="897"/>
          <pc:sldLayoutMkLst>
            <pc:docMk/>
            <pc:sldMasterMk cId="3957800653" sldId="2147484045"/>
            <pc:sldLayoutMk cId="1270311779" sldId="2147484053"/>
          </pc:sldLayoutMkLst>
        </pc:sldLayoutChg>
        <pc:sldLayoutChg chg="modTransition">
          <pc:chgData name="Dattesh Dattu" userId="e9f6239ee300b592" providerId="LiveId" clId="{5CBC8C95-2B2B-47F0-82EC-153A3C80402B}" dt="2024-08-16T10:49:08.920" v="897"/>
          <pc:sldLayoutMkLst>
            <pc:docMk/>
            <pc:sldMasterMk cId="3957800653" sldId="2147484045"/>
            <pc:sldLayoutMk cId="453476244" sldId="2147484054"/>
          </pc:sldLayoutMkLst>
        </pc:sldLayoutChg>
        <pc:sldLayoutChg chg="modTransition">
          <pc:chgData name="Dattesh Dattu" userId="e9f6239ee300b592" providerId="LiveId" clId="{5CBC8C95-2B2B-47F0-82EC-153A3C80402B}" dt="2024-08-16T10:49:08.920" v="897"/>
          <pc:sldLayoutMkLst>
            <pc:docMk/>
            <pc:sldMasterMk cId="3957800653" sldId="2147484045"/>
            <pc:sldLayoutMk cId="2416291430" sldId="2147484055"/>
          </pc:sldLayoutMkLst>
        </pc:sldLayoutChg>
        <pc:sldLayoutChg chg="modTransition">
          <pc:chgData name="Dattesh Dattu" userId="e9f6239ee300b592" providerId="LiveId" clId="{5CBC8C95-2B2B-47F0-82EC-153A3C80402B}" dt="2024-08-16T10:49:08.920" v="897"/>
          <pc:sldLayoutMkLst>
            <pc:docMk/>
            <pc:sldMasterMk cId="3957800653" sldId="2147484045"/>
            <pc:sldLayoutMk cId="675659146" sldId="2147484056"/>
          </pc:sldLayoutMkLst>
        </pc:sldLayoutChg>
      </pc:sldMasterChg>
      <pc:sldMasterChg chg="modTransition modSldLayout">
        <pc:chgData name="Dattesh Dattu" userId="e9f6239ee300b592" providerId="LiveId" clId="{5CBC8C95-2B2B-47F0-82EC-153A3C80402B}" dt="2024-08-16T10:49:13.726" v="901"/>
        <pc:sldMasterMkLst>
          <pc:docMk/>
          <pc:sldMasterMk cId="2256105601" sldId="2147484059"/>
        </pc:sldMasterMkLst>
        <pc:sldLayoutChg chg="modTransition">
          <pc:chgData name="Dattesh Dattu" userId="e9f6239ee300b592" providerId="LiveId" clId="{5CBC8C95-2B2B-47F0-82EC-153A3C80402B}" dt="2024-08-16T10:49:13.726" v="901"/>
          <pc:sldLayoutMkLst>
            <pc:docMk/>
            <pc:sldMasterMk cId="2256105601" sldId="2147484059"/>
            <pc:sldLayoutMk cId="2167587626" sldId="2147484060"/>
          </pc:sldLayoutMkLst>
        </pc:sldLayoutChg>
        <pc:sldLayoutChg chg="modTransition">
          <pc:chgData name="Dattesh Dattu" userId="e9f6239ee300b592" providerId="LiveId" clId="{5CBC8C95-2B2B-47F0-82EC-153A3C80402B}" dt="2024-08-16T10:49:13.726" v="901"/>
          <pc:sldLayoutMkLst>
            <pc:docMk/>
            <pc:sldMasterMk cId="2256105601" sldId="2147484059"/>
            <pc:sldLayoutMk cId="3369550760" sldId="2147484061"/>
          </pc:sldLayoutMkLst>
        </pc:sldLayoutChg>
        <pc:sldLayoutChg chg="modTransition">
          <pc:chgData name="Dattesh Dattu" userId="e9f6239ee300b592" providerId="LiveId" clId="{5CBC8C95-2B2B-47F0-82EC-153A3C80402B}" dt="2024-08-16T10:49:13.726" v="901"/>
          <pc:sldLayoutMkLst>
            <pc:docMk/>
            <pc:sldMasterMk cId="2256105601" sldId="2147484059"/>
            <pc:sldLayoutMk cId="2837968272" sldId="2147484062"/>
          </pc:sldLayoutMkLst>
        </pc:sldLayoutChg>
        <pc:sldLayoutChg chg="modTransition">
          <pc:chgData name="Dattesh Dattu" userId="e9f6239ee300b592" providerId="LiveId" clId="{5CBC8C95-2B2B-47F0-82EC-153A3C80402B}" dt="2024-08-16T10:49:13.726" v="901"/>
          <pc:sldLayoutMkLst>
            <pc:docMk/>
            <pc:sldMasterMk cId="2256105601" sldId="2147484059"/>
            <pc:sldLayoutMk cId="782705628" sldId="2147484063"/>
          </pc:sldLayoutMkLst>
        </pc:sldLayoutChg>
        <pc:sldLayoutChg chg="modTransition">
          <pc:chgData name="Dattesh Dattu" userId="e9f6239ee300b592" providerId="LiveId" clId="{5CBC8C95-2B2B-47F0-82EC-153A3C80402B}" dt="2024-08-16T10:49:13.726" v="901"/>
          <pc:sldLayoutMkLst>
            <pc:docMk/>
            <pc:sldMasterMk cId="2256105601" sldId="2147484059"/>
            <pc:sldLayoutMk cId="2267663181" sldId="2147484065"/>
          </pc:sldLayoutMkLst>
        </pc:sldLayoutChg>
        <pc:sldLayoutChg chg="modTransition">
          <pc:chgData name="Dattesh Dattu" userId="e9f6239ee300b592" providerId="LiveId" clId="{5CBC8C95-2B2B-47F0-82EC-153A3C80402B}" dt="2024-08-16T10:49:13.726" v="901"/>
          <pc:sldLayoutMkLst>
            <pc:docMk/>
            <pc:sldMasterMk cId="2256105601" sldId="2147484059"/>
            <pc:sldLayoutMk cId="610480294" sldId="2147484066"/>
          </pc:sldLayoutMkLst>
        </pc:sldLayoutChg>
        <pc:sldLayoutChg chg="modTransition">
          <pc:chgData name="Dattesh Dattu" userId="e9f6239ee300b592" providerId="LiveId" clId="{5CBC8C95-2B2B-47F0-82EC-153A3C80402B}" dt="2024-08-16T10:49:13.726" v="901"/>
          <pc:sldLayoutMkLst>
            <pc:docMk/>
            <pc:sldMasterMk cId="2256105601" sldId="2147484059"/>
            <pc:sldLayoutMk cId="316152438" sldId="2147484067"/>
          </pc:sldLayoutMkLst>
        </pc:sldLayoutChg>
        <pc:sldLayoutChg chg="modTransition">
          <pc:chgData name="Dattesh Dattu" userId="e9f6239ee300b592" providerId="LiveId" clId="{5CBC8C95-2B2B-47F0-82EC-153A3C80402B}" dt="2024-08-16T10:49:13.726" v="901"/>
          <pc:sldLayoutMkLst>
            <pc:docMk/>
            <pc:sldMasterMk cId="2256105601" sldId="2147484059"/>
            <pc:sldLayoutMk cId="2775302706" sldId="2147484068"/>
          </pc:sldLayoutMkLst>
        </pc:sldLayoutChg>
        <pc:sldLayoutChg chg="modTransition">
          <pc:chgData name="Dattesh Dattu" userId="e9f6239ee300b592" providerId="LiveId" clId="{5CBC8C95-2B2B-47F0-82EC-153A3C80402B}" dt="2024-08-16T10:49:13.726" v="901"/>
          <pc:sldLayoutMkLst>
            <pc:docMk/>
            <pc:sldMasterMk cId="2256105601" sldId="2147484059"/>
            <pc:sldLayoutMk cId="788567814" sldId="2147484069"/>
          </pc:sldLayoutMkLst>
        </pc:sldLayoutChg>
        <pc:sldLayoutChg chg="modTransition">
          <pc:chgData name="Dattesh Dattu" userId="e9f6239ee300b592" providerId="LiveId" clId="{5CBC8C95-2B2B-47F0-82EC-153A3C80402B}" dt="2024-08-16T10:49:13.726" v="901"/>
          <pc:sldLayoutMkLst>
            <pc:docMk/>
            <pc:sldMasterMk cId="2256105601" sldId="2147484059"/>
            <pc:sldLayoutMk cId="2378848391" sldId="2147484070"/>
          </pc:sldLayoutMkLst>
        </pc:sldLayoutChg>
      </pc:sldMasterChg>
      <pc:sldMasterChg chg="modTransition modSldLayout">
        <pc:chgData name="Dattesh Dattu" userId="e9f6239ee300b592" providerId="LiveId" clId="{5CBC8C95-2B2B-47F0-82EC-153A3C80402B}" dt="2024-08-16T10:49:24.261" v="905"/>
        <pc:sldMasterMkLst>
          <pc:docMk/>
          <pc:sldMasterMk cId="3119629432" sldId="2147484073"/>
        </pc:sldMasterMkLst>
        <pc:sldLayoutChg chg="modTransition">
          <pc:chgData name="Dattesh Dattu" userId="e9f6239ee300b592" providerId="LiveId" clId="{5CBC8C95-2B2B-47F0-82EC-153A3C80402B}" dt="2024-08-16T10:49:24.261" v="905"/>
          <pc:sldLayoutMkLst>
            <pc:docMk/>
            <pc:sldMasterMk cId="3119629432" sldId="2147484073"/>
            <pc:sldLayoutMk cId="1989201077" sldId="2147484074"/>
          </pc:sldLayoutMkLst>
        </pc:sldLayoutChg>
        <pc:sldLayoutChg chg="modTransition">
          <pc:chgData name="Dattesh Dattu" userId="e9f6239ee300b592" providerId="LiveId" clId="{5CBC8C95-2B2B-47F0-82EC-153A3C80402B}" dt="2024-08-16T10:49:24.261" v="905"/>
          <pc:sldLayoutMkLst>
            <pc:docMk/>
            <pc:sldMasterMk cId="3119629432" sldId="2147484073"/>
            <pc:sldLayoutMk cId="1405081006" sldId="2147484075"/>
          </pc:sldLayoutMkLst>
        </pc:sldLayoutChg>
        <pc:sldLayoutChg chg="modTransition">
          <pc:chgData name="Dattesh Dattu" userId="e9f6239ee300b592" providerId="LiveId" clId="{5CBC8C95-2B2B-47F0-82EC-153A3C80402B}" dt="2024-08-16T10:49:24.261" v="905"/>
          <pc:sldLayoutMkLst>
            <pc:docMk/>
            <pc:sldMasterMk cId="3119629432" sldId="2147484073"/>
            <pc:sldLayoutMk cId="296580988" sldId="2147484076"/>
          </pc:sldLayoutMkLst>
        </pc:sldLayoutChg>
        <pc:sldLayoutChg chg="modTransition">
          <pc:chgData name="Dattesh Dattu" userId="e9f6239ee300b592" providerId="LiveId" clId="{5CBC8C95-2B2B-47F0-82EC-153A3C80402B}" dt="2024-08-16T10:49:24.261" v="905"/>
          <pc:sldLayoutMkLst>
            <pc:docMk/>
            <pc:sldMasterMk cId="3119629432" sldId="2147484073"/>
            <pc:sldLayoutMk cId="2310687991" sldId="2147484077"/>
          </pc:sldLayoutMkLst>
        </pc:sldLayoutChg>
        <pc:sldLayoutChg chg="modTransition">
          <pc:chgData name="Dattesh Dattu" userId="e9f6239ee300b592" providerId="LiveId" clId="{5CBC8C95-2B2B-47F0-82EC-153A3C80402B}" dt="2024-08-16T10:49:24.261" v="905"/>
          <pc:sldLayoutMkLst>
            <pc:docMk/>
            <pc:sldMasterMk cId="3119629432" sldId="2147484073"/>
            <pc:sldLayoutMk cId="3749632913" sldId="2147484079"/>
          </pc:sldLayoutMkLst>
        </pc:sldLayoutChg>
        <pc:sldLayoutChg chg="modTransition">
          <pc:chgData name="Dattesh Dattu" userId="e9f6239ee300b592" providerId="LiveId" clId="{5CBC8C95-2B2B-47F0-82EC-153A3C80402B}" dt="2024-08-16T10:49:24.261" v="905"/>
          <pc:sldLayoutMkLst>
            <pc:docMk/>
            <pc:sldMasterMk cId="3119629432" sldId="2147484073"/>
            <pc:sldLayoutMk cId="378141547" sldId="2147484080"/>
          </pc:sldLayoutMkLst>
        </pc:sldLayoutChg>
        <pc:sldLayoutChg chg="modTransition">
          <pc:chgData name="Dattesh Dattu" userId="e9f6239ee300b592" providerId="LiveId" clId="{5CBC8C95-2B2B-47F0-82EC-153A3C80402B}" dt="2024-08-16T10:49:24.261" v="905"/>
          <pc:sldLayoutMkLst>
            <pc:docMk/>
            <pc:sldMasterMk cId="3119629432" sldId="2147484073"/>
            <pc:sldLayoutMk cId="1131750699" sldId="2147484081"/>
          </pc:sldLayoutMkLst>
        </pc:sldLayoutChg>
        <pc:sldLayoutChg chg="modTransition">
          <pc:chgData name="Dattesh Dattu" userId="e9f6239ee300b592" providerId="LiveId" clId="{5CBC8C95-2B2B-47F0-82EC-153A3C80402B}" dt="2024-08-16T10:49:24.261" v="905"/>
          <pc:sldLayoutMkLst>
            <pc:docMk/>
            <pc:sldMasterMk cId="3119629432" sldId="2147484073"/>
            <pc:sldLayoutMk cId="1642990083" sldId="2147484082"/>
          </pc:sldLayoutMkLst>
        </pc:sldLayoutChg>
        <pc:sldLayoutChg chg="modTransition">
          <pc:chgData name="Dattesh Dattu" userId="e9f6239ee300b592" providerId="LiveId" clId="{5CBC8C95-2B2B-47F0-82EC-153A3C80402B}" dt="2024-08-16T10:49:24.261" v="905"/>
          <pc:sldLayoutMkLst>
            <pc:docMk/>
            <pc:sldMasterMk cId="3119629432" sldId="2147484073"/>
            <pc:sldLayoutMk cId="3411803852" sldId="2147484083"/>
          </pc:sldLayoutMkLst>
        </pc:sldLayoutChg>
        <pc:sldLayoutChg chg="modTransition">
          <pc:chgData name="Dattesh Dattu" userId="e9f6239ee300b592" providerId="LiveId" clId="{5CBC8C95-2B2B-47F0-82EC-153A3C80402B}" dt="2024-08-16T10:49:24.261" v="905"/>
          <pc:sldLayoutMkLst>
            <pc:docMk/>
            <pc:sldMasterMk cId="3119629432" sldId="2147484073"/>
            <pc:sldLayoutMk cId="1373844767" sldId="2147484084"/>
          </pc:sldLayoutMkLst>
        </pc:sldLayoutChg>
      </pc:sldMasterChg>
      <pc:sldMasterChg chg="modTransition modSldLayout">
        <pc:chgData name="Dattesh Dattu" userId="e9f6239ee300b592" providerId="LiveId" clId="{5CBC8C95-2B2B-47F0-82EC-153A3C80402B}" dt="2024-08-16T10:49:49.607" v="909"/>
        <pc:sldMasterMkLst>
          <pc:docMk/>
          <pc:sldMasterMk cId="1909723200" sldId="2147484087"/>
        </pc:sldMasterMkLst>
        <pc:sldLayoutChg chg="modTransition">
          <pc:chgData name="Dattesh Dattu" userId="e9f6239ee300b592" providerId="LiveId" clId="{5CBC8C95-2B2B-47F0-82EC-153A3C80402B}" dt="2024-08-16T10:49:49.607" v="909"/>
          <pc:sldLayoutMkLst>
            <pc:docMk/>
            <pc:sldMasterMk cId="1909723200" sldId="2147484087"/>
            <pc:sldLayoutMk cId="522704897" sldId="2147484088"/>
          </pc:sldLayoutMkLst>
        </pc:sldLayoutChg>
        <pc:sldLayoutChg chg="modTransition">
          <pc:chgData name="Dattesh Dattu" userId="e9f6239ee300b592" providerId="LiveId" clId="{5CBC8C95-2B2B-47F0-82EC-153A3C80402B}" dt="2024-08-16T10:49:49.607" v="909"/>
          <pc:sldLayoutMkLst>
            <pc:docMk/>
            <pc:sldMasterMk cId="1909723200" sldId="2147484087"/>
            <pc:sldLayoutMk cId="3878243734" sldId="2147484089"/>
          </pc:sldLayoutMkLst>
        </pc:sldLayoutChg>
        <pc:sldLayoutChg chg="modTransition">
          <pc:chgData name="Dattesh Dattu" userId="e9f6239ee300b592" providerId="LiveId" clId="{5CBC8C95-2B2B-47F0-82EC-153A3C80402B}" dt="2024-08-16T10:49:49.607" v="909"/>
          <pc:sldLayoutMkLst>
            <pc:docMk/>
            <pc:sldMasterMk cId="1909723200" sldId="2147484087"/>
            <pc:sldLayoutMk cId="284791762" sldId="2147484090"/>
          </pc:sldLayoutMkLst>
        </pc:sldLayoutChg>
        <pc:sldLayoutChg chg="modTransition">
          <pc:chgData name="Dattesh Dattu" userId="e9f6239ee300b592" providerId="LiveId" clId="{5CBC8C95-2B2B-47F0-82EC-153A3C80402B}" dt="2024-08-16T10:49:49.607" v="909"/>
          <pc:sldLayoutMkLst>
            <pc:docMk/>
            <pc:sldMasterMk cId="1909723200" sldId="2147484087"/>
            <pc:sldLayoutMk cId="86745399" sldId="2147484091"/>
          </pc:sldLayoutMkLst>
        </pc:sldLayoutChg>
        <pc:sldLayoutChg chg="modTransition">
          <pc:chgData name="Dattesh Dattu" userId="e9f6239ee300b592" providerId="LiveId" clId="{5CBC8C95-2B2B-47F0-82EC-153A3C80402B}" dt="2024-08-16T10:49:49.607" v="909"/>
          <pc:sldLayoutMkLst>
            <pc:docMk/>
            <pc:sldMasterMk cId="1909723200" sldId="2147484087"/>
            <pc:sldLayoutMk cId="334545860" sldId="2147484093"/>
          </pc:sldLayoutMkLst>
        </pc:sldLayoutChg>
        <pc:sldLayoutChg chg="modTransition">
          <pc:chgData name="Dattesh Dattu" userId="e9f6239ee300b592" providerId="LiveId" clId="{5CBC8C95-2B2B-47F0-82EC-153A3C80402B}" dt="2024-08-16T10:49:49.607" v="909"/>
          <pc:sldLayoutMkLst>
            <pc:docMk/>
            <pc:sldMasterMk cId="1909723200" sldId="2147484087"/>
            <pc:sldLayoutMk cId="1134117410" sldId="2147484094"/>
          </pc:sldLayoutMkLst>
        </pc:sldLayoutChg>
        <pc:sldLayoutChg chg="modTransition">
          <pc:chgData name="Dattesh Dattu" userId="e9f6239ee300b592" providerId="LiveId" clId="{5CBC8C95-2B2B-47F0-82EC-153A3C80402B}" dt="2024-08-16T10:49:49.607" v="909"/>
          <pc:sldLayoutMkLst>
            <pc:docMk/>
            <pc:sldMasterMk cId="1909723200" sldId="2147484087"/>
            <pc:sldLayoutMk cId="2305503680" sldId="2147484095"/>
          </pc:sldLayoutMkLst>
        </pc:sldLayoutChg>
        <pc:sldLayoutChg chg="modTransition">
          <pc:chgData name="Dattesh Dattu" userId="e9f6239ee300b592" providerId="LiveId" clId="{5CBC8C95-2B2B-47F0-82EC-153A3C80402B}" dt="2024-08-16T10:49:49.607" v="909"/>
          <pc:sldLayoutMkLst>
            <pc:docMk/>
            <pc:sldMasterMk cId="1909723200" sldId="2147484087"/>
            <pc:sldLayoutMk cId="3080344672" sldId="2147484096"/>
          </pc:sldLayoutMkLst>
        </pc:sldLayoutChg>
        <pc:sldLayoutChg chg="modTransition">
          <pc:chgData name="Dattesh Dattu" userId="e9f6239ee300b592" providerId="LiveId" clId="{5CBC8C95-2B2B-47F0-82EC-153A3C80402B}" dt="2024-08-16T10:49:49.607" v="909"/>
          <pc:sldLayoutMkLst>
            <pc:docMk/>
            <pc:sldMasterMk cId="1909723200" sldId="2147484087"/>
            <pc:sldLayoutMk cId="3391661277" sldId="2147484103"/>
          </pc:sldLayoutMkLst>
        </pc:sldLayoutChg>
        <pc:sldLayoutChg chg="modTransition">
          <pc:chgData name="Dattesh Dattu" userId="e9f6239ee300b592" providerId="LiveId" clId="{5CBC8C95-2B2B-47F0-82EC-153A3C80402B}" dt="2024-08-16T10:49:49.607" v="909"/>
          <pc:sldLayoutMkLst>
            <pc:docMk/>
            <pc:sldMasterMk cId="1909723200" sldId="2147484087"/>
            <pc:sldLayoutMk cId="168312527" sldId="2147484104"/>
          </pc:sldLayoutMkLst>
        </pc:sldLayoutChg>
      </pc:sldMasterChg>
      <pc:sldMasterChg chg="modTransition modSldLayout">
        <pc:chgData name="Dattesh Dattu" userId="e9f6239ee300b592" providerId="LiveId" clId="{5CBC8C95-2B2B-47F0-82EC-153A3C80402B}" dt="2024-08-16T10:49:54.350" v="917"/>
        <pc:sldMasterMkLst>
          <pc:docMk/>
          <pc:sldMasterMk cId="3252012592" sldId="2147484107"/>
        </pc:sldMasterMkLst>
        <pc:sldLayoutChg chg="modTransition">
          <pc:chgData name="Dattesh Dattu" userId="e9f6239ee300b592" providerId="LiveId" clId="{5CBC8C95-2B2B-47F0-82EC-153A3C80402B}" dt="2024-08-16T10:49:54.350" v="917"/>
          <pc:sldLayoutMkLst>
            <pc:docMk/>
            <pc:sldMasterMk cId="3252012592" sldId="2147484107"/>
            <pc:sldLayoutMk cId="2025619326" sldId="2147484108"/>
          </pc:sldLayoutMkLst>
        </pc:sldLayoutChg>
        <pc:sldLayoutChg chg="modTransition">
          <pc:chgData name="Dattesh Dattu" userId="e9f6239ee300b592" providerId="LiveId" clId="{5CBC8C95-2B2B-47F0-82EC-153A3C80402B}" dt="2024-08-16T10:49:54.350" v="917"/>
          <pc:sldLayoutMkLst>
            <pc:docMk/>
            <pc:sldMasterMk cId="3252012592" sldId="2147484107"/>
            <pc:sldLayoutMk cId="3920440746" sldId="2147484109"/>
          </pc:sldLayoutMkLst>
        </pc:sldLayoutChg>
        <pc:sldLayoutChg chg="modTransition">
          <pc:chgData name="Dattesh Dattu" userId="e9f6239ee300b592" providerId="LiveId" clId="{5CBC8C95-2B2B-47F0-82EC-153A3C80402B}" dt="2024-08-16T10:49:54.350" v="917"/>
          <pc:sldLayoutMkLst>
            <pc:docMk/>
            <pc:sldMasterMk cId="3252012592" sldId="2147484107"/>
            <pc:sldLayoutMk cId="1625037365" sldId="2147484110"/>
          </pc:sldLayoutMkLst>
        </pc:sldLayoutChg>
        <pc:sldLayoutChg chg="modTransition">
          <pc:chgData name="Dattesh Dattu" userId="e9f6239ee300b592" providerId="LiveId" clId="{5CBC8C95-2B2B-47F0-82EC-153A3C80402B}" dt="2024-08-16T10:49:54.350" v="917"/>
          <pc:sldLayoutMkLst>
            <pc:docMk/>
            <pc:sldMasterMk cId="3252012592" sldId="2147484107"/>
            <pc:sldLayoutMk cId="1180268693" sldId="2147484111"/>
          </pc:sldLayoutMkLst>
        </pc:sldLayoutChg>
        <pc:sldLayoutChg chg="modTransition">
          <pc:chgData name="Dattesh Dattu" userId="e9f6239ee300b592" providerId="LiveId" clId="{5CBC8C95-2B2B-47F0-82EC-153A3C80402B}" dt="2024-08-16T10:49:54.350" v="917"/>
          <pc:sldLayoutMkLst>
            <pc:docMk/>
            <pc:sldMasterMk cId="3252012592" sldId="2147484107"/>
            <pc:sldLayoutMk cId="1528255360" sldId="2147484113"/>
          </pc:sldLayoutMkLst>
        </pc:sldLayoutChg>
        <pc:sldLayoutChg chg="modTransition">
          <pc:chgData name="Dattesh Dattu" userId="e9f6239ee300b592" providerId="LiveId" clId="{5CBC8C95-2B2B-47F0-82EC-153A3C80402B}" dt="2024-08-16T10:49:54.350" v="917"/>
          <pc:sldLayoutMkLst>
            <pc:docMk/>
            <pc:sldMasterMk cId="3252012592" sldId="2147484107"/>
            <pc:sldLayoutMk cId="3151443206" sldId="2147484114"/>
          </pc:sldLayoutMkLst>
        </pc:sldLayoutChg>
        <pc:sldLayoutChg chg="modTransition">
          <pc:chgData name="Dattesh Dattu" userId="e9f6239ee300b592" providerId="LiveId" clId="{5CBC8C95-2B2B-47F0-82EC-153A3C80402B}" dt="2024-08-16T10:49:54.350" v="917"/>
          <pc:sldLayoutMkLst>
            <pc:docMk/>
            <pc:sldMasterMk cId="3252012592" sldId="2147484107"/>
            <pc:sldLayoutMk cId="2961206211" sldId="2147484115"/>
          </pc:sldLayoutMkLst>
        </pc:sldLayoutChg>
        <pc:sldLayoutChg chg="modTransition">
          <pc:chgData name="Dattesh Dattu" userId="e9f6239ee300b592" providerId="LiveId" clId="{5CBC8C95-2B2B-47F0-82EC-153A3C80402B}" dt="2024-08-16T10:49:54.350" v="917"/>
          <pc:sldLayoutMkLst>
            <pc:docMk/>
            <pc:sldMasterMk cId="3252012592" sldId="2147484107"/>
            <pc:sldLayoutMk cId="4124105169" sldId="2147484116"/>
          </pc:sldLayoutMkLst>
        </pc:sldLayoutChg>
        <pc:sldLayoutChg chg="modTransition">
          <pc:chgData name="Dattesh Dattu" userId="e9f6239ee300b592" providerId="LiveId" clId="{5CBC8C95-2B2B-47F0-82EC-153A3C80402B}" dt="2024-08-16T10:49:54.350" v="917"/>
          <pc:sldLayoutMkLst>
            <pc:docMk/>
            <pc:sldMasterMk cId="3252012592" sldId="2147484107"/>
            <pc:sldLayoutMk cId="2185518719" sldId="2147484123"/>
          </pc:sldLayoutMkLst>
        </pc:sldLayoutChg>
        <pc:sldLayoutChg chg="modTransition">
          <pc:chgData name="Dattesh Dattu" userId="e9f6239ee300b592" providerId="LiveId" clId="{5CBC8C95-2B2B-47F0-82EC-153A3C80402B}" dt="2024-08-16T10:49:54.350" v="917"/>
          <pc:sldLayoutMkLst>
            <pc:docMk/>
            <pc:sldMasterMk cId="3252012592" sldId="2147484107"/>
            <pc:sldLayoutMk cId="2110082355" sldId="2147484124"/>
          </pc:sldLayoutMkLst>
        </pc:sldLayoutChg>
      </pc:sldMasterChg>
      <pc:sldMasterChg chg="modTransition modSldLayout">
        <pc:chgData name="Dattesh Dattu" userId="e9f6239ee300b592" providerId="LiveId" clId="{5CBC8C95-2B2B-47F0-82EC-153A3C80402B}" dt="2024-08-16T10:50:02.326" v="918"/>
        <pc:sldMasterMkLst>
          <pc:docMk/>
          <pc:sldMasterMk cId="3209256475" sldId="2147484127"/>
        </pc:sldMasterMkLst>
        <pc:sldLayoutChg chg="modTransition">
          <pc:chgData name="Dattesh Dattu" userId="e9f6239ee300b592" providerId="LiveId" clId="{5CBC8C95-2B2B-47F0-82EC-153A3C80402B}" dt="2024-08-16T10:50:02.326" v="918"/>
          <pc:sldLayoutMkLst>
            <pc:docMk/>
            <pc:sldMasterMk cId="3209256475" sldId="2147484127"/>
            <pc:sldLayoutMk cId="2619694474" sldId="2147484128"/>
          </pc:sldLayoutMkLst>
        </pc:sldLayoutChg>
        <pc:sldLayoutChg chg="modTransition">
          <pc:chgData name="Dattesh Dattu" userId="e9f6239ee300b592" providerId="LiveId" clId="{5CBC8C95-2B2B-47F0-82EC-153A3C80402B}" dt="2024-08-16T10:50:02.326" v="918"/>
          <pc:sldLayoutMkLst>
            <pc:docMk/>
            <pc:sldMasterMk cId="3209256475" sldId="2147484127"/>
            <pc:sldLayoutMk cId="1358965284" sldId="2147484129"/>
          </pc:sldLayoutMkLst>
        </pc:sldLayoutChg>
        <pc:sldLayoutChg chg="modTransition">
          <pc:chgData name="Dattesh Dattu" userId="e9f6239ee300b592" providerId="LiveId" clId="{5CBC8C95-2B2B-47F0-82EC-153A3C80402B}" dt="2024-08-16T10:50:02.326" v="918"/>
          <pc:sldLayoutMkLst>
            <pc:docMk/>
            <pc:sldMasterMk cId="3209256475" sldId="2147484127"/>
            <pc:sldLayoutMk cId="911781832" sldId="2147484130"/>
          </pc:sldLayoutMkLst>
        </pc:sldLayoutChg>
        <pc:sldLayoutChg chg="modTransition">
          <pc:chgData name="Dattesh Dattu" userId="e9f6239ee300b592" providerId="LiveId" clId="{5CBC8C95-2B2B-47F0-82EC-153A3C80402B}" dt="2024-08-16T10:50:02.326" v="918"/>
          <pc:sldLayoutMkLst>
            <pc:docMk/>
            <pc:sldMasterMk cId="3209256475" sldId="2147484127"/>
            <pc:sldLayoutMk cId="2950389904" sldId="2147484131"/>
          </pc:sldLayoutMkLst>
        </pc:sldLayoutChg>
        <pc:sldLayoutChg chg="modTransition">
          <pc:chgData name="Dattesh Dattu" userId="e9f6239ee300b592" providerId="LiveId" clId="{5CBC8C95-2B2B-47F0-82EC-153A3C80402B}" dt="2024-08-16T10:50:02.326" v="918"/>
          <pc:sldLayoutMkLst>
            <pc:docMk/>
            <pc:sldMasterMk cId="3209256475" sldId="2147484127"/>
            <pc:sldLayoutMk cId="991920252" sldId="2147484133"/>
          </pc:sldLayoutMkLst>
        </pc:sldLayoutChg>
        <pc:sldLayoutChg chg="modTransition">
          <pc:chgData name="Dattesh Dattu" userId="e9f6239ee300b592" providerId="LiveId" clId="{5CBC8C95-2B2B-47F0-82EC-153A3C80402B}" dt="2024-08-16T10:50:02.326" v="918"/>
          <pc:sldLayoutMkLst>
            <pc:docMk/>
            <pc:sldMasterMk cId="3209256475" sldId="2147484127"/>
            <pc:sldLayoutMk cId="2892535108" sldId="2147484134"/>
          </pc:sldLayoutMkLst>
        </pc:sldLayoutChg>
        <pc:sldLayoutChg chg="modTransition">
          <pc:chgData name="Dattesh Dattu" userId="e9f6239ee300b592" providerId="LiveId" clId="{5CBC8C95-2B2B-47F0-82EC-153A3C80402B}" dt="2024-08-16T10:50:02.326" v="918"/>
          <pc:sldLayoutMkLst>
            <pc:docMk/>
            <pc:sldMasterMk cId="3209256475" sldId="2147484127"/>
            <pc:sldLayoutMk cId="3350534734" sldId="2147484135"/>
          </pc:sldLayoutMkLst>
        </pc:sldLayoutChg>
        <pc:sldLayoutChg chg="modTransition">
          <pc:chgData name="Dattesh Dattu" userId="e9f6239ee300b592" providerId="LiveId" clId="{5CBC8C95-2B2B-47F0-82EC-153A3C80402B}" dt="2024-08-16T10:50:02.326" v="918"/>
          <pc:sldLayoutMkLst>
            <pc:docMk/>
            <pc:sldMasterMk cId="3209256475" sldId="2147484127"/>
            <pc:sldLayoutMk cId="2930226555" sldId="2147484136"/>
          </pc:sldLayoutMkLst>
        </pc:sldLayoutChg>
        <pc:sldLayoutChg chg="modTransition">
          <pc:chgData name="Dattesh Dattu" userId="e9f6239ee300b592" providerId="LiveId" clId="{5CBC8C95-2B2B-47F0-82EC-153A3C80402B}" dt="2024-08-16T10:50:02.326" v="918"/>
          <pc:sldLayoutMkLst>
            <pc:docMk/>
            <pc:sldMasterMk cId="3209256475" sldId="2147484127"/>
            <pc:sldLayoutMk cId="778316872" sldId="2147484143"/>
          </pc:sldLayoutMkLst>
        </pc:sldLayoutChg>
        <pc:sldLayoutChg chg="modTransition">
          <pc:chgData name="Dattesh Dattu" userId="e9f6239ee300b592" providerId="LiveId" clId="{5CBC8C95-2B2B-47F0-82EC-153A3C80402B}" dt="2024-08-16T10:50:02.326" v="918"/>
          <pc:sldLayoutMkLst>
            <pc:docMk/>
            <pc:sldMasterMk cId="3209256475" sldId="2147484127"/>
            <pc:sldLayoutMk cId="279871503" sldId="2147484144"/>
          </pc:sldLayoutMkLst>
        </pc:sldLayoutChg>
      </pc:sldMasterChg>
      <pc:sldMasterChg chg="modTransition modSldLayout">
        <pc:chgData name="Dattesh Dattu" userId="e9f6239ee300b592" providerId="LiveId" clId="{5CBC8C95-2B2B-47F0-82EC-153A3C80402B}" dt="2024-08-16T10:50:06.835" v="919"/>
        <pc:sldMasterMkLst>
          <pc:docMk/>
          <pc:sldMasterMk cId="698574652" sldId="2147484147"/>
        </pc:sldMasterMkLst>
        <pc:sldLayoutChg chg="modTransition">
          <pc:chgData name="Dattesh Dattu" userId="e9f6239ee300b592" providerId="LiveId" clId="{5CBC8C95-2B2B-47F0-82EC-153A3C80402B}" dt="2024-08-16T10:50:06.835" v="919"/>
          <pc:sldLayoutMkLst>
            <pc:docMk/>
            <pc:sldMasterMk cId="698574652" sldId="2147484147"/>
            <pc:sldLayoutMk cId="2778161684" sldId="2147484148"/>
          </pc:sldLayoutMkLst>
        </pc:sldLayoutChg>
        <pc:sldLayoutChg chg="modTransition">
          <pc:chgData name="Dattesh Dattu" userId="e9f6239ee300b592" providerId="LiveId" clId="{5CBC8C95-2B2B-47F0-82EC-153A3C80402B}" dt="2024-08-16T10:50:06.835" v="919"/>
          <pc:sldLayoutMkLst>
            <pc:docMk/>
            <pc:sldMasterMk cId="698574652" sldId="2147484147"/>
            <pc:sldLayoutMk cId="2658532500" sldId="2147484150"/>
          </pc:sldLayoutMkLst>
        </pc:sldLayoutChg>
        <pc:sldLayoutChg chg="modTransition">
          <pc:chgData name="Dattesh Dattu" userId="e9f6239ee300b592" providerId="LiveId" clId="{5CBC8C95-2B2B-47F0-82EC-153A3C80402B}" dt="2024-08-16T10:50:06.835" v="919"/>
          <pc:sldLayoutMkLst>
            <pc:docMk/>
            <pc:sldMasterMk cId="698574652" sldId="2147484147"/>
            <pc:sldLayoutMk cId="3376416180" sldId="2147484153"/>
          </pc:sldLayoutMkLst>
        </pc:sldLayoutChg>
        <pc:sldLayoutChg chg="modTransition">
          <pc:chgData name="Dattesh Dattu" userId="e9f6239ee300b592" providerId="LiveId" clId="{5CBC8C95-2B2B-47F0-82EC-153A3C80402B}" dt="2024-08-16T10:50:06.835" v="919"/>
          <pc:sldLayoutMkLst>
            <pc:docMk/>
            <pc:sldMasterMk cId="698574652" sldId="2147484147"/>
            <pc:sldLayoutMk cId="2478722371" sldId="2147484154"/>
          </pc:sldLayoutMkLst>
        </pc:sldLayoutChg>
        <pc:sldLayoutChg chg="modTransition">
          <pc:chgData name="Dattesh Dattu" userId="e9f6239ee300b592" providerId="LiveId" clId="{5CBC8C95-2B2B-47F0-82EC-153A3C80402B}" dt="2024-08-16T10:50:06.835" v="919"/>
          <pc:sldLayoutMkLst>
            <pc:docMk/>
            <pc:sldMasterMk cId="698574652" sldId="2147484147"/>
            <pc:sldLayoutMk cId="1389319443" sldId="2147484156"/>
          </pc:sldLayoutMkLst>
        </pc:sldLayoutChg>
      </pc:sldMasterChg>
      <pc:sldMasterChg chg="modTransition modSldLayout">
        <pc:chgData name="Dattesh Dattu" userId="e9f6239ee300b592" providerId="LiveId" clId="{5CBC8C95-2B2B-47F0-82EC-153A3C80402B}" dt="2024-08-16T10:50:09.465" v="926"/>
        <pc:sldMasterMkLst>
          <pc:docMk/>
          <pc:sldMasterMk cId="3310232420" sldId="2147484165"/>
        </pc:sldMasterMkLst>
        <pc:sldLayoutChg chg="modTransition">
          <pc:chgData name="Dattesh Dattu" userId="e9f6239ee300b592" providerId="LiveId" clId="{5CBC8C95-2B2B-47F0-82EC-153A3C80402B}" dt="2024-08-16T10:50:09.465" v="926"/>
          <pc:sldLayoutMkLst>
            <pc:docMk/>
            <pc:sldMasterMk cId="3310232420" sldId="2147484165"/>
            <pc:sldLayoutMk cId="123612521" sldId="2147484166"/>
          </pc:sldLayoutMkLst>
        </pc:sldLayoutChg>
        <pc:sldLayoutChg chg="modTransition">
          <pc:chgData name="Dattesh Dattu" userId="e9f6239ee300b592" providerId="LiveId" clId="{5CBC8C95-2B2B-47F0-82EC-153A3C80402B}" dt="2024-08-16T10:50:09.465" v="926"/>
          <pc:sldLayoutMkLst>
            <pc:docMk/>
            <pc:sldMasterMk cId="3310232420" sldId="2147484165"/>
            <pc:sldLayoutMk cId="4217181460" sldId="2147484168"/>
          </pc:sldLayoutMkLst>
        </pc:sldLayoutChg>
        <pc:sldLayoutChg chg="modTransition">
          <pc:chgData name="Dattesh Dattu" userId="e9f6239ee300b592" providerId="LiveId" clId="{5CBC8C95-2B2B-47F0-82EC-153A3C80402B}" dt="2024-08-16T10:50:09.465" v="926"/>
          <pc:sldLayoutMkLst>
            <pc:docMk/>
            <pc:sldMasterMk cId="3310232420" sldId="2147484165"/>
            <pc:sldLayoutMk cId="4024382958" sldId="2147484171"/>
          </pc:sldLayoutMkLst>
        </pc:sldLayoutChg>
        <pc:sldLayoutChg chg="modTransition">
          <pc:chgData name="Dattesh Dattu" userId="e9f6239ee300b592" providerId="LiveId" clId="{5CBC8C95-2B2B-47F0-82EC-153A3C80402B}" dt="2024-08-16T10:50:09.465" v="926"/>
          <pc:sldLayoutMkLst>
            <pc:docMk/>
            <pc:sldMasterMk cId="3310232420" sldId="2147484165"/>
            <pc:sldLayoutMk cId="627682608" sldId="2147484172"/>
          </pc:sldLayoutMkLst>
        </pc:sldLayoutChg>
        <pc:sldLayoutChg chg="modTransition">
          <pc:chgData name="Dattesh Dattu" userId="e9f6239ee300b592" providerId="LiveId" clId="{5CBC8C95-2B2B-47F0-82EC-153A3C80402B}" dt="2024-08-16T10:50:09.465" v="926"/>
          <pc:sldLayoutMkLst>
            <pc:docMk/>
            <pc:sldMasterMk cId="3310232420" sldId="2147484165"/>
            <pc:sldLayoutMk cId="4005832859" sldId="2147484174"/>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B8F9A1-7539-4E75-8A3C-C7CB1E5083E5}" type="doc">
      <dgm:prSet loTypeId="urn:microsoft.com/office/officeart/2008/layout/VerticalCurvedList" loCatId="list" qsTypeId="urn:microsoft.com/office/officeart/2005/8/quickstyle/simple3" qsCatId="simple" csTypeId="urn:microsoft.com/office/officeart/2005/8/colors/colorful5" csCatId="colorful" phldr="1"/>
      <dgm:spPr/>
      <dgm:t>
        <a:bodyPr/>
        <a:lstStyle/>
        <a:p>
          <a:endParaRPr lang="en-IN"/>
        </a:p>
      </dgm:t>
    </dgm:pt>
    <dgm:pt modelId="{0CDA89A3-48E4-44CB-893E-60A30BF95D5E}">
      <dgm:prSet phldrT="[Text]"/>
      <dgm:spPr/>
      <dgm:t>
        <a:bodyPr/>
        <a:lstStyle/>
        <a:p>
          <a:r>
            <a:rPr lang="en-US" dirty="0">
              <a:latin typeface="Algerian" panose="04020705040A02060702" pitchFamily="82" charset="0"/>
            </a:rPr>
            <a:t>Introduction </a:t>
          </a:r>
          <a:endParaRPr lang="en-IN" dirty="0">
            <a:latin typeface="Algerian" panose="04020705040A02060702" pitchFamily="82" charset="0"/>
          </a:endParaRPr>
        </a:p>
      </dgm:t>
    </dgm:pt>
    <dgm:pt modelId="{77A9A7D8-1E88-4894-95D0-47A2F58E8578}" type="parTrans" cxnId="{4DFA5B62-AEDA-4BFA-A8E8-F1257B892583}">
      <dgm:prSet/>
      <dgm:spPr/>
      <dgm:t>
        <a:bodyPr/>
        <a:lstStyle/>
        <a:p>
          <a:endParaRPr lang="en-IN"/>
        </a:p>
      </dgm:t>
    </dgm:pt>
    <dgm:pt modelId="{7D9A3E2C-3835-48DB-842E-69184502EAD6}" type="sibTrans" cxnId="{4DFA5B62-AEDA-4BFA-A8E8-F1257B892583}">
      <dgm:prSet/>
      <dgm:spPr/>
      <dgm:t>
        <a:bodyPr/>
        <a:lstStyle/>
        <a:p>
          <a:endParaRPr lang="en-IN"/>
        </a:p>
      </dgm:t>
    </dgm:pt>
    <dgm:pt modelId="{3F9C52B7-4D17-4B47-98C2-99693BF44686}">
      <dgm:prSet phldrT="[Text]"/>
      <dgm:spPr/>
      <dgm:t>
        <a:bodyPr/>
        <a:lstStyle/>
        <a:p>
          <a:r>
            <a:rPr lang="en-US" dirty="0">
              <a:latin typeface="Algerian" panose="04020705040A02060702" pitchFamily="82" charset="0"/>
            </a:rPr>
            <a:t>Software requirement specifications and coding &amp; implementation </a:t>
          </a:r>
          <a:endParaRPr lang="en-IN" dirty="0"/>
        </a:p>
      </dgm:t>
    </dgm:pt>
    <dgm:pt modelId="{DC4CF192-1DF2-427C-A7E5-1CF5FE068A08}" type="parTrans" cxnId="{A2AB3E2B-C04C-4832-8B19-3E981344BE17}">
      <dgm:prSet/>
      <dgm:spPr/>
      <dgm:t>
        <a:bodyPr/>
        <a:lstStyle/>
        <a:p>
          <a:endParaRPr lang="en-IN"/>
        </a:p>
      </dgm:t>
    </dgm:pt>
    <dgm:pt modelId="{7B82CD8B-C2C9-418C-91EE-2B87D55E7366}" type="sibTrans" cxnId="{A2AB3E2B-C04C-4832-8B19-3E981344BE17}">
      <dgm:prSet/>
      <dgm:spPr/>
      <dgm:t>
        <a:bodyPr/>
        <a:lstStyle/>
        <a:p>
          <a:endParaRPr lang="en-IN"/>
        </a:p>
      </dgm:t>
    </dgm:pt>
    <dgm:pt modelId="{70D7E9AA-A323-46B4-8A63-8778D770C0A1}">
      <dgm:prSet phldrT="[Text]"/>
      <dgm:spPr/>
      <dgm:t>
        <a:bodyPr/>
        <a:lstStyle/>
        <a:p>
          <a:r>
            <a:rPr lang="en-US" dirty="0">
              <a:latin typeface="Algerian" panose="04020705040A02060702" pitchFamily="82" charset="0"/>
            </a:rPr>
            <a:t>Conclusions and Project Summary, References</a:t>
          </a:r>
          <a:endParaRPr lang="en-IN" dirty="0">
            <a:latin typeface="Algerian" panose="04020705040A02060702" pitchFamily="82" charset="0"/>
          </a:endParaRPr>
        </a:p>
      </dgm:t>
    </dgm:pt>
    <dgm:pt modelId="{6E804ED9-8F42-4987-9A22-F31C854DF26A}" type="parTrans" cxnId="{369E488C-AF43-4547-B53C-1B78D8790FC5}">
      <dgm:prSet/>
      <dgm:spPr/>
      <dgm:t>
        <a:bodyPr/>
        <a:lstStyle/>
        <a:p>
          <a:endParaRPr lang="en-IN"/>
        </a:p>
      </dgm:t>
    </dgm:pt>
    <dgm:pt modelId="{CA3E2DE9-9FAE-43E5-A244-AB0872B54A9E}" type="sibTrans" cxnId="{369E488C-AF43-4547-B53C-1B78D8790FC5}">
      <dgm:prSet/>
      <dgm:spPr/>
      <dgm:t>
        <a:bodyPr/>
        <a:lstStyle/>
        <a:p>
          <a:endParaRPr lang="en-IN"/>
        </a:p>
      </dgm:t>
    </dgm:pt>
    <dgm:pt modelId="{8445A7AF-68D0-4A1B-B78B-5534AB005A2A}">
      <dgm:prSet phldrT="[Text]"/>
      <dgm:spPr/>
      <dgm:t>
        <a:bodyPr/>
        <a:lstStyle/>
        <a:p>
          <a:r>
            <a:rPr lang="en-US" dirty="0">
              <a:latin typeface="Algerian" panose="04020705040A02060702" pitchFamily="82" charset="0"/>
            </a:rPr>
            <a:t>Methodology </a:t>
          </a:r>
          <a:endParaRPr lang="en-IN" dirty="0">
            <a:latin typeface="Algerian" panose="04020705040A02060702" pitchFamily="82" charset="0"/>
          </a:endParaRPr>
        </a:p>
      </dgm:t>
    </dgm:pt>
    <dgm:pt modelId="{703639C4-510E-4DF6-8B91-FE214A624A01}" type="sibTrans" cxnId="{7C533332-EC36-4E32-970B-7545DBBFD3FC}">
      <dgm:prSet/>
      <dgm:spPr/>
      <dgm:t>
        <a:bodyPr/>
        <a:lstStyle/>
        <a:p>
          <a:endParaRPr lang="en-IN"/>
        </a:p>
      </dgm:t>
    </dgm:pt>
    <dgm:pt modelId="{F5877778-48E7-4411-B7BA-85C3EB7DC929}" type="parTrans" cxnId="{7C533332-EC36-4E32-970B-7545DBBFD3FC}">
      <dgm:prSet/>
      <dgm:spPr/>
      <dgm:t>
        <a:bodyPr/>
        <a:lstStyle/>
        <a:p>
          <a:endParaRPr lang="en-IN"/>
        </a:p>
      </dgm:t>
    </dgm:pt>
    <dgm:pt modelId="{7E608C07-4819-4A9D-892D-D70D6CD04B08}">
      <dgm:prSet phldrT="[Text]"/>
      <dgm:spPr/>
      <dgm:t>
        <a:bodyPr/>
        <a:lstStyle/>
        <a:p>
          <a:r>
            <a:rPr lang="en-US" dirty="0">
              <a:latin typeface="Algerian" panose="04020705040A02060702" pitchFamily="82" charset="0"/>
            </a:rPr>
            <a:t>Overview of the Data </a:t>
          </a:r>
          <a:endParaRPr lang="en-IN" dirty="0">
            <a:latin typeface="Algerian" panose="04020705040A02060702" pitchFamily="82" charset="0"/>
          </a:endParaRPr>
        </a:p>
      </dgm:t>
    </dgm:pt>
    <dgm:pt modelId="{27778C3C-B32F-4D95-AC29-F27A9BB6A39D}" type="sibTrans" cxnId="{2CB52528-8ABE-4C5E-968A-AC3781D43406}">
      <dgm:prSet/>
      <dgm:spPr/>
      <dgm:t>
        <a:bodyPr/>
        <a:lstStyle/>
        <a:p>
          <a:endParaRPr lang="en-IN"/>
        </a:p>
      </dgm:t>
    </dgm:pt>
    <dgm:pt modelId="{863B3F17-5DC3-4816-8D3D-F97D2D17A925}" type="parTrans" cxnId="{2CB52528-8ABE-4C5E-968A-AC3781D43406}">
      <dgm:prSet/>
      <dgm:spPr/>
      <dgm:t>
        <a:bodyPr/>
        <a:lstStyle/>
        <a:p>
          <a:endParaRPr lang="en-IN"/>
        </a:p>
      </dgm:t>
    </dgm:pt>
    <dgm:pt modelId="{EE29AD10-5721-4929-887E-273CC3E24812}" type="pres">
      <dgm:prSet presAssocID="{BAB8F9A1-7539-4E75-8A3C-C7CB1E5083E5}" presName="Name0" presStyleCnt="0">
        <dgm:presLayoutVars>
          <dgm:chMax val="7"/>
          <dgm:chPref val="7"/>
          <dgm:dir/>
        </dgm:presLayoutVars>
      </dgm:prSet>
      <dgm:spPr/>
    </dgm:pt>
    <dgm:pt modelId="{44EA4174-6ECC-4CF8-AF85-FC4771F13D58}" type="pres">
      <dgm:prSet presAssocID="{BAB8F9A1-7539-4E75-8A3C-C7CB1E5083E5}" presName="Name1" presStyleCnt="0"/>
      <dgm:spPr/>
    </dgm:pt>
    <dgm:pt modelId="{2DFDD7D9-7E70-429E-B7A3-F99664089B77}" type="pres">
      <dgm:prSet presAssocID="{BAB8F9A1-7539-4E75-8A3C-C7CB1E5083E5}" presName="cycle" presStyleCnt="0"/>
      <dgm:spPr/>
    </dgm:pt>
    <dgm:pt modelId="{E35E0427-4520-4633-8B90-537F824DD5A4}" type="pres">
      <dgm:prSet presAssocID="{BAB8F9A1-7539-4E75-8A3C-C7CB1E5083E5}" presName="srcNode" presStyleLbl="node1" presStyleIdx="0" presStyleCnt="5"/>
      <dgm:spPr/>
    </dgm:pt>
    <dgm:pt modelId="{A7C2CEA2-7143-4884-98AE-39D441D54D58}" type="pres">
      <dgm:prSet presAssocID="{BAB8F9A1-7539-4E75-8A3C-C7CB1E5083E5}" presName="conn" presStyleLbl="parChTrans1D2" presStyleIdx="0" presStyleCnt="1"/>
      <dgm:spPr/>
    </dgm:pt>
    <dgm:pt modelId="{7F8B1FBA-8E5E-4BF3-80DF-02593687EB52}" type="pres">
      <dgm:prSet presAssocID="{BAB8F9A1-7539-4E75-8A3C-C7CB1E5083E5}" presName="extraNode" presStyleLbl="node1" presStyleIdx="0" presStyleCnt="5"/>
      <dgm:spPr/>
    </dgm:pt>
    <dgm:pt modelId="{47718CED-9777-44C9-B39F-6CF2A2CB9853}" type="pres">
      <dgm:prSet presAssocID="{BAB8F9A1-7539-4E75-8A3C-C7CB1E5083E5}" presName="dstNode" presStyleLbl="node1" presStyleIdx="0" presStyleCnt="5"/>
      <dgm:spPr/>
    </dgm:pt>
    <dgm:pt modelId="{B2A96917-E56C-4DB6-A44D-FE3BFC72932B}" type="pres">
      <dgm:prSet presAssocID="{0CDA89A3-48E4-44CB-893E-60A30BF95D5E}" presName="text_1" presStyleLbl="node1" presStyleIdx="0" presStyleCnt="5">
        <dgm:presLayoutVars>
          <dgm:bulletEnabled val="1"/>
        </dgm:presLayoutVars>
      </dgm:prSet>
      <dgm:spPr/>
    </dgm:pt>
    <dgm:pt modelId="{B3DDE785-6D6D-47FD-8396-06FCB4760689}" type="pres">
      <dgm:prSet presAssocID="{0CDA89A3-48E4-44CB-893E-60A30BF95D5E}" presName="accent_1" presStyleCnt="0"/>
      <dgm:spPr/>
    </dgm:pt>
    <dgm:pt modelId="{9E14CF2A-6050-476E-A36C-E761A3191AEE}" type="pres">
      <dgm:prSet presAssocID="{0CDA89A3-48E4-44CB-893E-60A30BF95D5E}" presName="accentRepeatNode" presStyleLbl="solidFgAcc1" presStyleIdx="0" presStyleCnt="5"/>
      <dgm:spPr/>
    </dgm:pt>
    <dgm:pt modelId="{E337A3FA-207B-4E37-A2DB-9D82DDD43A97}" type="pres">
      <dgm:prSet presAssocID="{3F9C52B7-4D17-4B47-98C2-99693BF44686}" presName="text_2" presStyleLbl="node1" presStyleIdx="1" presStyleCnt="5">
        <dgm:presLayoutVars>
          <dgm:bulletEnabled val="1"/>
        </dgm:presLayoutVars>
      </dgm:prSet>
      <dgm:spPr/>
    </dgm:pt>
    <dgm:pt modelId="{B16934C4-5CFC-4660-BE6C-5EAEF6E8BFE1}" type="pres">
      <dgm:prSet presAssocID="{3F9C52B7-4D17-4B47-98C2-99693BF44686}" presName="accent_2" presStyleCnt="0"/>
      <dgm:spPr/>
    </dgm:pt>
    <dgm:pt modelId="{E1383FA9-8B87-49AA-B92C-83548AA0A3D6}" type="pres">
      <dgm:prSet presAssocID="{3F9C52B7-4D17-4B47-98C2-99693BF44686}" presName="accentRepeatNode" presStyleLbl="solidFgAcc1" presStyleIdx="1" presStyleCnt="5"/>
      <dgm:spPr/>
    </dgm:pt>
    <dgm:pt modelId="{7079179A-6561-4400-A839-10C8A1DDD2E0}" type="pres">
      <dgm:prSet presAssocID="{7E608C07-4819-4A9D-892D-D70D6CD04B08}" presName="text_3" presStyleLbl="node1" presStyleIdx="2" presStyleCnt="5">
        <dgm:presLayoutVars>
          <dgm:bulletEnabled val="1"/>
        </dgm:presLayoutVars>
      </dgm:prSet>
      <dgm:spPr/>
    </dgm:pt>
    <dgm:pt modelId="{3F96A907-6109-449D-BFE8-B87DC4F0E1D8}" type="pres">
      <dgm:prSet presAssocID="{7E608C07-4819-4A9D-892D-D70D6CD04B08}" presName="accent_3" presStyleCnt="0"/>
      <dgm:spPr/>
    </dgm:pt>
    <dgm:pt modelId="{8AD80732-AD58-4B04-9200-796373B3E542}" type="pres">
      <dgm:prSet presAssocID="{7E608C07-4819-4A9D-892D-D70D6CD04B08}" presName="accentRepeatNode" presStyleLbl="solidFgAcc1" presStyleIdx="2" presStyleCnt="5"/>
      <dgm:spPr/>
    </dgm:pt>
    <dgm:pt modelId="{972F56A7-D102-40A9-AF73-786C6D5CA64A}" type="pres">
      <dgm:prSet presAssocID="{8445A7AF-68D0-4A1B-B78B-5534AB005A2A}" presName="text_4" presStyleLbl="node1" presStyleIdx="3" presStyleCnt="5">
        <dgm:presLayoutVars>
          <dgm:bulletEnabled val="1"/>
        </dgm:presLayoutVars>
      </dgm:prSet>
      <dgm:spPr/>
    </dgm:pt>
    <dgm:pt modelId="{017D8116-81D6-4B99-9CB0-D78E82AF5D7D}" type="pres">
      <dgm:prSet presAssocID="{8445A7AF-68D0-4A1B-B78B-5534AB005A2A}" presName="accent_4" presStyleCnt="0"/>
      <dgm:spPr/>
    </dgm:pt>
    <dgm:pt modelId="{018EDEF4-6765-4368-86E4-5F4BAD6871B1}" type="pres">
      <dgm:prSet presAssocID="{8445A7AF-68D0-4A1B-B78B-5534AB005A2A}" presName="accentRepeatNode" presStyleLbl="solidFgAcc1" presStyleIdx="3" presStyleCnt="5"/>
      <dgm:spPr/>
    </dgm:pt>
    <dgm:pt modelId="{710A9765-DDA3-4D26-88FF-66CFCC1222C6}" type="pres">
      <dgm:prSet presAssocID="{70D7E9AA-A323-46B4-8A63-8778D770C0A1}" presName="text_5" presStyleLbl="node1" presStyleIdx="4" presStyleCnt="5">
        <dgm:presLayoutVars>
          <dgm:bulletEnabled val="1"/>
        </dgm:presLayoutVars>
      </dgm:prSet>
      <dgm:spPr/>
    </dgm:pt>
    <dgm:pt modelId="{3720D2AF-2372-4935-880D-BF16B14B937A}" type="pres">
      <dgm:prSet presAssocID="{70D7E9AA-A323-46B4-8A63-8778D770C0A1}" presName="accent_5" presStyleCnt="0"/>
      <dgm:spPr/>
    </dgm:pt>
    <dgm:pt modelId="{6C97A6AF-FC1E-4738-AA9C-E5A0427C8CE3}" type="pres">
      <dgm:prSet presAssocID="{70D7E9AA-A323-46B4-8A63-8778D770C0A1}" presName="accentRepeatNode" presStyleLbl="solidFgAcc1" presStyleIdx="4" presStyleCnt="5"/>
      <dgm:spPr/>
    </dgm:pt>
  </dgm:ptLst>
  <dgm:cxnLst>
    <dgm:cxn modelId="{3A37E119-0495-4E54-BAA2-3FABAA58059C}" type="presOf" srcId="{0CDA89A3-48E4-44CB-893E-60A30BF95D5E}" destId="{B2A96917-E56C-4DB6-A44D-FE3BFC72932B}" srcOrd="0" destOrd="0" presId="urn:microsoft.com/office/officeart/2008/layout/VerticalCurvedList"/>
    <dgm:cxn modelId="{2CB52528-8ABE-4C5E-968A-AC3781D43406}" srcId="{BAB8F9A1-7539-4E75-8A3C-C7CB1E5083E5}" destId="{7E608C07-4819-4A9D-892D-D70D6CD04B08}" srcOrd="2" destOrd="0" parTransId="{863B3F17-5DC3-4816-8D3D-F97D2D17A925}" sibTransId="{27778C3C-B32F-4D95-AC29-F27A9BB6A39D}"/>
    <dgm:cxn modelId="{A2AB3E2B-C04C-4832-8B19-3E981344BE17}" srcId="{BAB8F9A1-7539-4E75-8A3C-C7CB1E5083E5}" destId="{3F9C52B7-4D17-4B47-98C2-99693BF44686}" srcOrd="1" destOrd="0" parTransId="{DC4CF192-1DF2-427C-A7E5-1CF5FE068A08}" sibTransId="{7B82CD8B-C2C9-418C-91EE-2B87D55E7366}"/>
    <dgm:cxn modelId="{7C533332-EC36-4E32-970B-7545DBBFD3FC}" srcId="{BAB8F9A1-7539-4E75-8A3C-C7CB1E5083E5}" destId="{8445A7AF-68D0-4A1B-B78B-5534AB005A2A}" srcOrd="3" destOrd="0" parTransId="{F5877778-48E7-4411-B7BA-85C3EB7DC929}" sibTransId="{703639C4-510E-4DF6-8B91-FE214A624A01}"/>
    <dgm:cxn modelId="{4DFA5B62-AEDA-4BFA-A8E8-F1257B892583}" srcId="{BAB8F9A1-7539-4E75-8A3C-C7CB1E5083E5}" destId="{0CDA89A3-48E4-44CB-893E-60A30BF95D5E}" srcOrd="0" destOrd="0" parTransId="{77A9A7D8-1E88-4894-95D0-47A2F58E8578}" sibTransId="{7D9A3E2C-3835-48DB-842E-69184502EAD6}"/>
    <dgm:cxn modelId="{DC928E7F-1854-44C4-ABD3-D2F32ED2BE7C}" type="presOf" srcId="{70D7E9AA-A323-46B4-8A63-8778D770C0A1}" destId="{710A9765-DDA3-4D26-88FF-66CFCC1222C6}" srcOrd="0" destOrd="0" presId="urn:microsoft.com/office/officeart/2008/layout/VerticalCurvedList"/>
    <dgm:cxn modelId="{369E488C-AF43-4547-B53C-1B78D8790FC5}" srcId="{BAB8F9A1-7539-4E75-8A3C-C7CB1E5083E5}" destId="{70D7E9AA-A323-46B4-8A63-8778D770C0A1}" srcOrd="4" destOrd="0" parTransId="{6E804ED9-8F42-4987-9A22-F31C854DF26A}" sibTransId="{CA3E2DE9-9FAE-43E5-A244-AB0872B54A9E}"/>
    <dgm:cxn modelId="{B2438A96-2C7B-48FB-A737-C18B765AC4AF}" type="presOf" srcId="{8445A7AF-68D0-4A1B-B78B-5534AB005A2A}" destId="{972F56A7-D102-40A9-AF73-786C6D5CA64A}" srcOrd="0" destOrd="0" presId="urn:microsoft.com/office/officeart/2008/layout/VerticalCurvedList"/>
    <dgm:cxn modelId="{302EA798-5324-499D-9D5F-D90575D6D0EB}" type="presOf" srcId="{3F9C52B7-4D17-4B47-98C2-99693BF44686}" destId="{E337A3FA-207B-4E37-A2DB-9D82DDD43A97}" srcOrd="0" destOrd="0" presId="urn:microsoft.com/office/officeart/2008/layout/VerticalCurvedList"/>
    <dgm:cxn modelId="{E5C9A7A0-F102-43CE-A2E7-FA767E605F04}" type="presOf" srcId="{BAB8F9A1-7539-4E75-8A3C-C7CB1E5083E5}" destId="{EE29AD10-5721-4929-887E-273CC3E24812}" srcOrd="0" destOrd="0" presId="urn:microsoft.com/office/officeart/2008/layout/VerticalCurvedList"/>
    <dgm:cxn modelId="{4A4CC5C0-C193-4DF4-A17B-A034C94D31B1}" type="presOf" srcId="{7E608C07-4819-4A9D-892D-D70D6CD04B08}" destId="{7079179A-6561-4400-A839-10C8A1DDD2E0}" srcOrd="0" destOrd="0" presId="urn:microsoft.com/office/officeart/2008/layout/VerticalCurvedList"/>
    <dgm:cxn modelId="{2C78D3E5-330C-4B53-B87C-07372E375789}" type="presOf" srcId="{7D9A3E2C-3835-48DB-842E-69184502EAD6}" destId="{A7C2CEA2-7143-4884-98AE-39D441D54D58}" srcOrd="0" destOrd="0" presId="urn:microsoft.com/office/officeart/2008/layout/VerticalCurvedList"/>
    <dgm:cxn modelId="{E9464A7B-FCAB-4783-8DCF-4B72DB708F17}" type="presParOf" srcId="{EE29AD10-5721-4929-887E-273CC3E24812}" destId="{44EA4174-6ECC-4CF8-AF85-FC4771F13D58}" srcOrd="0" destOrd="0" presId="urn:microsoft.com/office/officeart/2008/layout/VerticalCurvedList"/>
    <dgm:cxn modelId="{BC0322ED-BFB0-4D8C-ABE4-9C1100750F94}" type="presParOf" srcId="{44EA4174-6ECC-4CF8-AF85-FC4771F13D58}" destId="{2DFDD7D9-7E70-429E-B7A3-F99664089B77}" srcOrd="0" destOrd="0" presId="urn:microsoft.com/office/officeart/2008/layout/VerticalCurvedList"/>
    <dgm:cxn modelId="{66C23D61-C72C-49EC-B5E0-C94486ECCE51}" type="presParOf" srcId="{2DFDD7D9-7E70-429E-B7A3-F99664089B77}" destId="{E35E0427-4520-4633-8B90-537F824DD5A4}" srcOrd="0" destOrd="0" presId="urn:microsoft.com/office/officeart/2008/layout/VerticalCurvedList"/>
    <dgm:cxn modelId="{821DD8B7-E45F-4C35-A6EF-F874972F9456}" type="presParOf" srcId="{2DFDD7D9-7E70-429E-B7A3-F99664089B77}" destId="{A7C2CEA2-7143-4884-98AE-39D441D54D58}" srcOrd="1" destOrd="0" presId="urn:microsoft.com/office/officeart/2008/layout/VerticalCurvedList"/>
    <dgm:cxn modelId="{38E45C20-4128-4A0D-9F58-12950690FFFB}" type="presParOf" srcId="{2DFDD7D9-7E70-429E-B7A3-F99664089B77}" destId="{7F8B1FBA-8E5E-4BF3-80DF-02593687EB52}" srcOrd="2" destOrd="0" presId="urn:microsoft.com/office/officeart/2008/layout/VerticalCurvedList"/>
    <dgm:cxn modelId="{95B669B1-1280-4F59-BF99-88ECBAAFA48A}" type="presParOf" srcId="{2DFDD7D9-7E70-429E-B7A3-F99664089B77}" destId="{47718CED-9777-44C9-B39F-6CF2A2CB9853}" srcOrd="3" destOrd="0" presId="urn:microsoft.com/office/officeart/2008/layout/VerticalCurvedList"/>
    <dgm:cxn modelId="{62BF3EB5-4107-499A-BE30-9584D9F16BFD}" type="presParOf" srcId="{44EA4174-6ECC-4CF8-AF85-FC4771F13D58}" destId="{B2A96917-E56C-4DB6-A44D-FE3BFC72932B}" srcOrd="1" destOrd="0" presId="urn:microsoft.com/office/officeart/2008/layout/VerticalCurvedList"/>
    <dgm:cxn modelId="{DE3DE0B2-C44E-4A1A-B568-D0707BDAA8A5}" type="presParOf" srcId="{44EA4174-6ECC-4CF8-AF85-FC4771F13D58}" destId="{B3DDE785-6D6D-47FD-8396-06FCB4760689}" srcOrd="2" destOrd="0" presId="urn:microsoft.com/office/officeart/2008/layout/VerticalCurvedList"/>
    <dgm:cxn modelId="{716AA0A8-E70A-4630-B526-F7B1AC6840EA}" type="presParOf" srcId="{B3DDE785-6D6D-47FD-8396-06FCB4760689}" destId="{9E14CF2A-6050-476E-A36C-E761A3191AEE}" srcOrd="0" destOrd="0" presId="urn:microsoft.com/office/officeart/2008/layout/VerticalCurvedList"/>
    <dgm:cxn modelId="{2ED4971E-CC69-4B9F-88F6-FD6589E2CB6D}" type="presParOf" srcId="{44EA4174-6ECC-4CF8-AF85-FC4771F13D58}" destId="{E337A3FA-207B-4E37-A2DB-9D82DDD43A97}" srcOrd="3" destOrd="0" presId="urn:microsoft.com/office/officeart/2008/layout/VerticalCurvedList"/>
    <dgm:cxn modelId="{6E390BA7-0C28-4E8E-9155-7AEC85691CAF}" type="presParOf" srcId="{44EA4174-6ECC-4CF8-AF85-FC4771F13D58}" destId="{B16934C4-5CFC-4660-BE6C-5EAEF6E8BFE1}" srcOrd="4" destOrd="0" presId="urn:microsoft.com/office/officeart/2008/layout/VerticalCurvedList"/>
    <dgm:cxn modelId="{4D14927B-2170-43FD-B6AE-AACE7C0000C9}" type="presParOf" srcId="{B16934C4-5CFC-4660-BE6C-5EAEF6E8BFE1}" destId="{E1383FA9-8B87-49AA-B92C-83548AA0A3D6}" srcOrd="0" destOrd="0" presId="urn:microsoft.com/office/officeart/2008/layout/VerticalCurvedList"/>
    <dgm:cxn modelId="{3D92FF6F-6591-4337-B535-CEA34EA43C70}" type="presParOf" srcId="{44EA4174-6ECC-4CF8-AF85-FC4771F13D58}" destId="{7079179A-6561-4400-A839-10C8A1DDD2E0}" srcOrd="5" destOrd="0" presId="urn:microsoft.com/office/officeart/2008/layout/VerticalCurvedList"/>
    <dgm:cxn modelId="{6DC3A221-7DCD-49B5-A3A7-99A176D45088}" type="presParOf" srcId="{44EA4174-6ECC-4CF8-AF85-FC4771F13D58}" destId="{3F96A907-6109-449D-BFE8-B87DC4F0E1D8}" srcOrd="6" destOrd="0" presId="urn:microsoft.com/office/officeart/2008/layout/VerticalCurvedList"/>
    <dgm:cxn modelId="{FA373A9F-1D8C-4F89-A6AB-4207CA968DFC}" type="presParOf" srcId="{3F96A907-6109-449D-BFE8-B87DC4F0E1D8}" destId="{8AD80732-AD58-4B04-9200-796373B3E542}" srcOrd="0" destOrd="0" presId="urn:microsoft.com/office/officeart/2008/layout/VerticalCurvedList"/>
    <dgm:cxn modelId="{32F9B40D-D4E1-4BAA-829A-3B406F189ABB}" type="presParOf" srcId="{44EA4174-6ECC-4CF8-AF85-FC4771F13D58}" destId="{972F56A7-D102-40A9-AF73-786C6D5CA64A}" srcOrd="7" destOrd="0" presId="urn:microsoft.com/office/officeart/2008/layout/VerticalCurvedList"/>
    <dgm:cxn modelId="{5255AD76-7507-42C5-99D4-6E866DA1E8A7}" type="presParOf" srcId="{44EA4174-6ECC-4CF8-AF85-FC4771F13D58}" destId="{017D8116-81D6-4B99-9CB0-D78E82AF5D7D}" srcOrd="8" destOrd="0" presId="urn:microsoft.com/office/officeart/2008/layout/VerticalCurvedList"/>
    <dgm:cxn modelId="{F93A7816-4AFC-40F8-93CE-0D487A38F598}" type="presParOf" srcId="{017D8116-81D6-4B99-9CB0-D78E82AF5D7D}" destId="{018EDEF4-6765-4368-86E4-5F4BAD6871B1}" srcOrd="0" destOrd="0" presId="urn:microsoft.com/office/officeart/2008/layout/VerticalCurvedList"/>
    <dgm:cxn modelId="{BEE29093-2FEB-47AD-9CDF-FCE055F7561E}" type="presParOf" srcId="{44EA4174-6ECC-4CF8-AF85-FC4771F13D58}" destId="{710A9765-DDA3-4D26-88FF-66CFCC1222C6}" srcOrd="9" destOrd="0" presId="urn:microsoft.com/office/officeart/2008/layout/VerticalCurvedList"/>
    <dgm:cxn modelId="{502B4417-19E5-43AC-A460-CD882449394B}" type="presParOf" srcId="{44EA4174-6ECC-4CF8-AF85-FC4771F13D58}" destId="{3720D2AF-2372-4935-880D-BF16B14B937A}" srcOrd="10" destOrd="0" presId="urn:microsoft.com/office/officeart/2008/layout/VerticalCurvedList"/>
    <dgm:cxn modelId="{363A7D3D-172E-4FC8-998D-1DAC3703B204}" type="presParOf" srcId="{3720D2AF-2372-4935-880D-BF16B14B937A}" destId="{6C97A6AF-FC1E-4738-AA9C-E5A0427C8CE3}" srcOrd="0" destOrd="0" presId="urn:microsoft.com/office/officeart/2008/layout/VerticalCurvedList"/>
  </dgm:cxnLst>
  <dgm:bg>
    <a:solidFill>
      <a:schemeClr val="bg1">
        <a:lumMod val="40000"/>
        <a:lumOff val="60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8DBEA4-D718-4CC1-B50A-2A1C72EB6A58}" type="doc">
      <dgm:prSet loTypeId="urn:microsoft.com/office/officeart/2005/8/layout/list1" loCatId="list" qsTypeId="urn:microsoft.com/office/officeart/2005/8/quickstyle/simple1" qsCatId="simple" csTypeId="urn:microsoft.com/office/officeart/2005/8/colors/accent0_2" csCatId="mainScheme" phldr="1"/>
      <dgm:spPr/>
      <dgm:t>
        <a:bodyPr/>
        <a:lstStyle/>
        <a:p>
          <a:endParaRPr lang="en-IN"/>
        </a:p>
      </dgm:t>
    </dgm:pt>
    <dgm:pt modelId="{DF05B67D-3989-4D14-8BED-8C4269FD08C6}">
      <dgm:prSet phldrT="[Text]" custT="1"/>
      <dgm:spPr>
        <a:solidFill>
          <a:schemeClr val="bg1">
            <a:lumMod val="20000"/>
            <a:lumOff val="80000"/>
          </a:schemeClr>
        </a:solidFill>
      </dgm:spPr>
      <dgm:t>
        <a:bodyPr/>
        <a:lstStyle/>
        <a:p>
          <a:r>
            <a:rPr lang="en-US" sz="1800" dirty="0">
              <a:solidFill>
                <a:schemeClr val="bg2">
                  <a:lumMod val="10000"/>
                </a:schemeClr>
              </a:solidFill>
              <a:latin typeface="Bell MT" panose="02020503060305020303" pitchFamily="18" charset="0"/>
            </a:rPr>
            <a:t>Exploratory Data Analysis</a:t>
          </a:r>
          <a:endParaRPr lang="en-IN" sz="1800" dirty="0">
            <a:solidFill>
              <a:schemeClr val="bg2">
                <a:lumMod val="10000"/>
              </a:schemeClr>
            </a:solidFill>
            <a:latin typeface="Bell MT" panose="02020503060305020303" pitchFamily="18" charset="0"/>
          </a:endParaRPr>
        </a:p>
      </dgm:t>
    </dgm:pt>
    <dgm:pt modelId="{1AA1BF00-2D23-41EC-B2D6-082E16A4E27E}" type="parTrans" cxnId="{40BA0B81-E5CE-41F2-B876-280E98945005}">
      <dgm:prSet/>
      <dgm:spPr/>
      <dgm:t>
        <a:bodyPr/>
        <a:lstStyle/>
        <a:p>
          <a:endParaRPr lang="en-IN"/>
        </a:p>
      </dgm:t>
    </dgm:pt>
    <dgm:pt modelId="{8B62BF52-C114-46F0-87E6-D805C8F2768C}" type="sibTrans" cxnId="{40BA0B81-E5CE-41F2-B876-280E98945005}">
      <dgm:prSet/>
      <dgm:spPr/>
      <dgm:t>
        <a:bodyPr/>
        <a:lstStyle/>
        <a:p>
          <a:endParaRPr lang="en-IN"/>
        </a:p>
      </dgm:t>
    </dgm:pt>
    <dgm:pt modelId="{ADC58996-3291-4BB0-BD25-9594D6FAA158}">
      <dgm:prSet phldrT="[Text]" custT="1"/>
      <dgm:spPr>
        <a:solidFill>
          <a:schemeClr val="bg1">
            <a:lumMod val="20000"/>
            <a:lumOff val="80000"/>
          </a:schemeClr>
        </a:solidFill>
      </dgm:spPr>
      <dgm:t>
        <a:bodyPr/>
        <a:lstStyle/>
        <a:p>
          <a:r>
            <a:rPr lang="en-US" sz="1800" dirty="0">
              <a:solidFill>
                <a:schemeClr val="bg2">
                  <a:lumMod val="10000"/>
                </a:schemeClr>
              </a:solidFill>
              <a:latin typeface="Bell MT" panose="02020503060305020303" pitchFamily="18" charset="0"/>
            </a:rPr>
            <a:t>Text Processing </a:t>
          </a:r>
          <a:endParaRPr lang="en-IN" sz="1800" dirty="0">
            <a:solidFill>
              <a:schemeClr val="bg2">
                <a:lumMod val="10000"/>
              </a:schemeClr>
            </a:solidFill>
            <a:latin typeface="Bell MT" panose="02020503060305020303" pitchFamily="18" charset="0"/>
          </a:endParaRPr>
        </a:p>
      </dgm:t>
    </dgm:pt>
    <dgm:pt modelId="{47063AA0-3C44-40EF-9370-75AE65D75D3E}" type="parTrans" cxnId="{29474CB5-6FB1-4A48-8F90-2F41C733AA24}">
      <dgm:prSet/>
      <dgm:spPr/>
      <dgm:t>
        <a:bodyPr/>
        <a:lstStyle/>
        <a:p>
          <a:endParaRPr lang="en-IN"/>
        </a:p>
      </dgm:t>
    </dgm:pt>
    <dgm:pt modelId="{A8BFEE7C-DA05-45B1-AAE6-67103A2BA25C}" type="sibTrans" cxnId="{29474CB5-6FB1-4A48-8F90-2F41C733AA24}">
      <dgm:prSet/>
      <dgm:spPr/>
      <dgm:t>
        <a:bodyPr/>
        <a:lstStyle/>
        <a:p>
          <a:endParaRPr lang="en-IN"/>
        </a:p>
      </dgm:t>
    </dgm:pt>
    <dgm:pt modelId="{B359B668-A409-4C44-B3B9-E381C4D49181}">
      <dgm:prSet phldrT="[Text]" custT="1"/>
      <dgm:spPr>
        <a:solidFill>
          <a:schemeClr val="bg1">
            <a:lumMod val="20000"/>
            <a:lumOff val="80000"/>
          </a:schemeClr>
        </a:solidFill>
      </dgm:spPr>
      <dgm:t>
        <a:bodyPr/>
        <a:lstStyle/>
        <a:p>
          <a:r>
            <a:rPr lang="en-IN" sz="1800" dirty="0">
              <a:solidFill>
                <a:schemeClr val="bg2">
                  <a:lumMod val="10000"/>
                </a:schemeClr>
              </a:solidFill>
              <a:latin typeface="Bell MT" panose="02020503060305020303" pitchFamily="18" charset="0"/>
            </a:rPr>
            <a:t>Model training, Model validation</a:t>
          </a:r>
        </a:p>
      </dgm:t>
    </dgm:pt>
    <dgm:pt modelId="{C377F262-971C-4786-BC10-4E94E451642C}" type="parTrans" cxnId="{DD95F706-69E4-4901-B66A-BDB4E23DB138}">
      <dgm:prSet/>
      <dgm:spPr/>
      <dgm:t>
        <a:bodyPr/>
        <a:lstStyle/>
        <a:p>
          <a:endParaRPr lang="en-IN"/>
        </a:p>
      </dgm:t>
    </dgm:pt>
    <dgm:pt modelId="{67CCA490-AE75-47F5-A1C2-1001F45BD4E1}" type="sibTrans" cxnId="{DD95F706-69E4-4901-B66A-BDB4E23DB138}">
      <dgm:prSet/>
      <dgm:spPr/>
      <dgm:t>
        <a:bodyPr/>
        <a:lstStyle/>
        <a:p>
          <a:endParaRPr lang="en-IN"/>
        </a:p>
      </dgm:t>
    </dgm:pt>
    <dgm:pt modelId="{EF40175B-4B26-4A4D-9E4F-6C9DB84A219E}">
      <dgm:prSet phldrT="[Text]" custT="1"/>
      <dgm:spPr>
        <a:solidFill>
          <a:schemeClr val="bg1">
            <a:lumMod val="20000"/>
            <a:lumOff val="80000"/>
          </a:schemeClr>
        </a:solidFill>
      </dgm:spPr>
      <dgm:t>
        <a:bodyPr/>
        <a:lstStyle/>
        <a:p>
          <a:r>
            <a:rPr lang="en-IN" sz="1800" dirty="0">
              <a:solidFill>
                <a:schemeClr val="bg2">
                  <a:lumMod val="10000"/>
                </a:schemeClr>
              </a:solidFill>
              <a:latin typeface="Bell MT" panose="02020503060305020303" pitchFamily="18" charset="0"/>
            </a:rPr>
            <a:t>Sentiment scores, Business insights</a:t>
          </a:r>
        </a:p>
      </dgm:t>
    </dgm:pt>
    <dgm:pt modelId="{3BC651A6-C5D8-40B8-A62C-2C532CDBFC7F}" type="parTrans" cxnId="{8BB0552A-2925-46EE-8B54-9C1C0713800F}">
      <dgm:prSet/>
      <dgm:spPr/>
      <dgm:t>
        <a:bodyPr/>
        <a:lstStyle/>
        <a:p>
          <a:endParaRPr lang="en-IN"/>
        </a:p>
      </dgm:t>
    </dgm:pt>
    <dgm:pt modelId="{5E24CE70-AC71-4E61-BF84-2AD82CF1A2EC}" type="sibTrans" cxnId="{8BB0552A-2925-46EE-8B54-9C1C0713800F}">
      <dgm:prSet/>
      <dgm:spPr/>
      <dgm:t>
        <a:bodyPr/>
        <a:lstStyle/>
        <a:p>
          <a:endParaRPr lang="en-IN"/>
        </a:p>
      </dgm:t>
    </dgm:pt>
    <dgm:pt modelId="{0C885EFF-9218-49A2-9530-1F2E6878185E}" type="pres">
      <dgm:prSet presAssocID="{828DBEA4-D718-4CC1-B50A-2A1C72EB6A58}" presName="linear" presStyleCnt="0">
        <dgm:presLayoutVars>
          <dgm:dir/>
          <dgm:animLvl val="lvl"/>
          <dgm:resizeHandles val="exact"/>
        </dgm:presLayoutVars>
      </dgm:prSet>
      <dgm:spPr/>
    </dgm:pt>
    <dgm:pt modelId="{A1706F9A-55DD-44EA-B9D6-811358272423}" type="pres">
      <dgm:prSet presAssocID="{DF05B67D-3989-4D14-8BED-8C4269FD08C6}" presName="parentLin" presStyleCnt="0"/>
      <dgm:spPr/>
    </dgm:pt>
    <dgm:pt modelId="{EF1277DC-F282-4A47-A591-A8C6EF7E8E29}" type="pres">
      <dgm:prSet presAssocID="{DF05B67D-3989-4D14-8BED-8C4269FD08C6}" presName="parentLeftMargin" presStyleLbl="node1" presStyleIdx="0" presStyleCnt="4"/>
      <dgm:spPr/>
    </dgm:pt>
    <dgm:pt modelId="{F939DB99-A411-4132-8246-E38683CE1C47}" type="pres">
      <dgm:prSet presAssocID="{DF05B67D-3989-4D14-8BED-8C4269FD08C6}" presName="parentText" presStyleLbl="node1" presStyleIdx="0" presStyleCnt="4">
        <dgm:presLayoutVars>
          <dgm:chMax val="0"/>
          <dgm:bulletEnabled val="1"/>
        </dgm:presLayoutVars>
      </dgm:prSet>
      <dgm:spPr/>
    </dgm:pt>
    <dgm:pt modelId="{64DC37A7-D1FE-47F1-B327-5DDFD9EA4026}" type="pres">
      <dgm:prSet presAssocID="{DF05B67D-3989-4D14-8BED-8C4269FD08C6}" presName="negativeSpace" presStyleCnt="0"/>
      <dgm:spPr/>
    </dgm:pt>
    <dgm:pt modelId="{F624665E-D91C-4FD1-A807-DED11EC6054E}" type="pres">
      <dgm:prSet presAssocID="{DF05B67D-3989-4D14-8BED-8C4269FD08C6}" presName="childText" presStyleLbl="conFgAcc1" presStyleIdx="0" presStyleCnt="4">
        <dgm:presLayoutVars>
          <dgm:bulletEnabled val="1"/>
        </dgm:presLayoutVars>
      </dgm:prSet>
      <dgm:spPr/>
    </dgm:pt>
    <dgm:pt modelId="{DFB2BC15-D37D-42AD-B92D-500806F65B5B}" type="pres">
      <dgm:prSet presAssocID="{8B62BF52-C114-46F0-87E6-D805C8F2768C}" presName="spaceBetweenRectangles" presStyleCnt="0"/>
      <dgm:spPr/>
    </dgm:pt>
    <dgm:pt modelId="{0D3D39C4-58E1-4AA3-8DCA-D07A7264660C}" type="pres">
      <dgm:prSet presAssocID="{ADC58996-3291-4BB0-BD25-9594D6FAA158}" presName="parentLin" presStyleCnt="0"/>
      <dgm:spPr/>
    </dgm:pt>
    <dgm:pt modelId="{EEE829A4-5619-4372-BE28-7379AC4D6089}" type="pres">
      <dgm:prSet presAssocID="{ADC58996-3291-4BB0-BD25-9594D6FAA158}" presName="parentLeftMargin" presStyleLbl="node1" presStyleIdx="0" presStyleCnt="4"/>
      <dgm:spPr/>
    </dgm:pt>
    <dgm:pt modelId="{36B8B322-6446-4E7D-9D74-84D2D7F21D93}" type="pres">
      <dgm:prSet presAssocID="{ADC58996-3291-4BB0-BD25-9594D6FAA158}" presName="parentText" presStyleLbl="node1" presStyleIdx="1" presStyleCnt="4">
        <dgm:presLayoutVars>
          <dgm:chMax val="0"/>
          <dgm:bulletEnabled val="1"/>
        </dgm:presLayoutVars>
      </dgm:prSet>
      <dgm:spPr/>
    </dgm:pt>
    <dgm:pt modelId="{44FBD098-1778-42D3-BC12-C819BF682A59}" type="pres">
      <dgm:prSet presAssocID="{ADC58996-3291-4BB0-BD25-9594D6FAA158}" presName="negativeSpace" presStyleCnt="0"/>
      <dgm:spPr/>
    </dgm:pt>
    <dgm:pt modelId="{1DDCD59F-4564-400C-AC07-CB6781E40DDB}" type="pres">
      <dgm:prSet presAssocID="{ADC58996-3291-4BB0-BD25-9594D6FAA158}" presName="childText" presStyleLbl="conFgAcc1" presStyleIdx="1" presStyleCnt="4" custLinFactNeighborY="-8819">
        <dgm:presLayoutVars>
          <dgm:bulletEnabled val="1"/>
        </dgm:presLayoutVars>
      </dgm:prSet>
      <dgm:spPr/>
    </dgm:pt>
    <dgm:pt modelId="{E66F0802-2A3C-4CD0-A4E4-788A0CB2F84C}" type="pres">
      <dgm:prSet presAssocID="{A8BFEE7C-DA05-45B1-AAE6-67103A2BA25C}" presName="spaceBetweenRectangles" presStyleCnt="0"/>
      <dgm:spPr/>
    </dgm:pt>
    <dgm:pt modelId="{17ECE408-0E5E-467F-ACD1-7BA5707702EC}" type="pres">
      <dgm:prSet presAssocID="{B359B668-A409-4C44-B3B9-E381C4D49181}" presName="parentLin" presStyleCnt="0"/>
      <dgm:spPr/>
    </dgm:pt>
    <dgm:pt modelId="{A1FCAEED-65BB-4EB3-B59C-921B74D7110C}" type="pres">
      <dgm:prSet presAssocID="{B359B668-A409-4C44-B3B9-E381C4D49181}" presName="parentLeftMargin" presStyleLbl="node1" presStyleIdx="1" presStyleCnt="4"/>
      <dgm:spPr/>
    </dgm:pt>
    <dgm:pt modelId="{252BFDA8-0F83-4A94-A380-B6D0F6ACDC8D}" type="pres">
      <dgm:prSet presAssocID="{B359B668-A409-4C44-B3B9-E381C4D49181}" presName="parentText" presStyleLbl="node1" presStyleIdx="2" presStyleCnt="4">
        <dgm:presLayoutVars>
          <dgm:chMax val="0"/>
          <dgm:bulletEnabled val="1"/>
        </dgm:presLayoutVars>
      </dgm:prSet>
      <dgm:spPr/>
    </dgm:pt>
    <dgm:pt modelId="{0587A8A5-2BE6-4A1C-82A8-300EE9190069}" type="pres">
      <dgm:prSet presAssocID="{B359B668-A409-4C44-B3B9-E381C4D49181}" presName="negativeSpace" presStyleCnt="0"/>
      <dgm:spPr/>
    </dgm:pt>
    <dgm:pt modelId="{BC93B5ED-4C19-45EA-88A5-F06950164D2B}" type="pres">
      <dgm:prSet presAssocID="{B359B668-A409-4C44-B3B9-E381C4D49181}" presName="childText" presStyleLbl="conFgAcc1" presStyleIdx="2" presStyleCnt="4">
        <dgm:presLayoutVars>
          <dgm:bulletEnabled val="1"/>
        </dgm:presLayoutVars>
      </dgm:prSet>
      <dgm:spPr/>
    </dgm:pt>
    <dgm:pt modelId="{57E3F3EC-5039-4614-AF3C-159D85BBF3A7}" type="pres">
      <dgm:prSet presAssocID="{67CCA490-AE75-47F5-A1C2-1001F45BD4E1}" presName="spaceBetweenRectangles" presStyleCnt="0"/>
      <dgm:spPr/>
    </dgm:pt>
    <dgm:pt modelId="{7C9349FE-5E95-4300-A605-F13D47315359}" type="pres">
      <dgm:prSet presAssocID="{EF40175B-4B26-4A4D-9E4F-6C9DB84A219E}" presName="parentLin" presStyleCnt="0"/>
      <dgm:spPr/>
    </dgm:pt>
    <dgm:pt modelId="{24FB7B39-CE6A-4EC4-9793-445C74DBD315}" type="pres">
      <dgm:prSet presAssocID="{EF40175B-4B26-4A4D-9E4F-6C9DB84A219E}" presName="parentLeftMargin" presStyleLbl="node1" presStyleIdx="2" presStyleCnt="4"/>
      <dgm:spPr/>
    </dgm:pt>
    <dgm:pt modelId="{2FCDC5E9-C0C8-468D-BF23-E2BEAF927D54}" type="pres">
      <dgm:prSet presAssocID="{EF40175B-4B26-4A4D-9E4F-6C9DB84A219E}" presName="parentText" presStyleLbl="node1" presStyleIdx="3" presStyleCnt="4">
        <dgm:presLayoutVars>
          <dgm:chMax val="0"/>
          <dgm:bulletEnabled val="1"/>
        </dgm:presLayoutVars>
      </dgm:prSet>
      <dgm:spPr/>
    </dgm:pt>
    <dgm:pt modelId="{5362139D-C29A-42CD-9EC4-99B5ABBC5CDC}" type="pres">
      <dgm:prSet presAssocID="{EF40175B-4B26-4A4D-9E4F-6C9DB84A219E}" presName="negativeSpace" presStyleCnt="0"/>
      <dgm:spPr/>
    </dgm:pt>
    <dgm:pt modelId="{1C4A511B-0EDB-489B-8BAB-CA2D93B63210}" type="pres">
      <dgm:prSet presAssocID="{EF40175B-4B26-4A4D-9E4F-6C9DB84A219E}" presName="childText" presStyleLbl="conFgAcc1" presStyleIdx="3" presStyleCnt="4">
        <dgm:presLayoutVars>
          <dgm:bulletEnabled val="1"/>
        </dgm:presLayoutVars>
      </dgm:prSet>
      <dgm:spPr/>
    </dgm:pt>
  </dgm:ptLst>
  <dgm:cxnLst>
    <dgm:cxn modelId="{DD95F706-69E4-4901-B66A-BDB4E23DB138}" srcId="{828DBEA4-D718-4CC1-B50A-2A1C72EB6A58}" destId="{B359B668-A409-4C44-B3B9-E381C4D49181}" srcOrd="2" destOrd="0" parTransId="{C377F262-971C-4786-BC10-4E94E451642C}" sibTransId="{67CCA490-AE75-47F5-A1C2-1001F45BD4E1}"/>
    <dgm:cxn modelId="{F19CE208-E769-41E1-A816-4F65772567E9}" type="presOf" srcId="{B359B668-A409-4C44-B3B9-E381C4D49181}" destId="{A1FCAEED-65BB-4EB3-B59C-921B74D7110C}" srcOrd="0" destOrd="0" presId="urn:microsoft.com/office/officeart/2005/8/layout/list1"/>
    <dgm:cxn modelId="{29350A13-4A5E-4E10-B1DA-D6CF428E17DC}" type="presOf" srcId="{DF05B67D-3989-4D14-8BED-8C4269FD08C6}" destId="{EF1277DC-F282-4A47-A591-A8C6EF7E8E29}" srcOrd="0" destOrd="0" presId="urn:microsoft.com/office/officeart/2005/8/layout/list1"/>
    <dgm:cxn modelId="{8BB0552A-2925-46EE-8B54-9C1C0713800F}" srcId="{828DBEA4-D718-4CC1-B50A-2A1C72EB6A58}" destId="{EF40175B-4B26-4A4D-9E4F-6C9DB84A219E}" srcOrd="3" destOrd="0" parTransId="{3BC651A6-C5D8-40B8-A62C-2C532CDBFC7F}" sibTransId="{5E24CE70-AC71-4E61-BF84-2AD82CF1A2EC}"/>
    <dgm:cxn modelId="{FC914A5E-EC7B-4F89-B11C-7967932F70BB}" type="presOf" srcId="{EF40175B-4B26-4A4D-9E4F-6C9DB84A219E}" destId="{24FB7B39-CE6A-4EC4-9793-445C74DBD315}" srcOrd="0" destOrd="0" presId="urn:microsoft.com/office/officeart/2005/8/layout/list1"/>
    <dgm:cxn modelId="{40BA0B81-E5CE-41F2-B876-280E98945005}" srcId="{828DBEA4-D718-4CC1-B50A-2A1C72EB6A58}" destId="{DF05B67D-3989-4D14-8BED-8C4269FD08C6}" srcOrd="0" destOrd="0" parTransId="{1AA1BF00-2D23-41EC-B2D6-082E16A4E27E}" sibTransId="{8B62BF52-C114-46F0-87E6-D805C8F2768C}"/>
    <dgm:cxn modelId="{9416C59A-3801-4120-833B-D1D92E82E2A1}" type="presOf" srcId="{828DBEA4-D718-4CC1-B50A-2A1C72EB6A58}" destId="{0C885EFF-9218-49A2-9530-1F2E6878185E}" srcOrd="0" destOrd="0" presId="urn:microsoft.com/office/officeart/2005/8/layout/list1"/>
    <dgm:cxn modelId="{DFE037A5-C452-4E9F-9720-59D0519675F6}" type="presOf" srcId="{EF40175B-4B26-4A4D-9E4F-6C9DB84A219E}" destId="{2FCDC5E9-C0C8-468D-BF23-E2BEAF927D54}" srcOrd="1" destOrd="0" presId="urn:microsoft.com/office/officeart/2005/8/layout/list1"/>
    <dgm:cxn modelId="{6E5E30AC-C04A-48D3-B4CB-F43F70565A51}" type="presOf" srcId="{ADC58996-3291-4BB0-BD25-9594D6FAA158}" destId="{36B8B322-6446-4E7D-9D74-84D2D7F21D93}" srcOrd="1" destOrd="0" presId="urn:microsoft.com/office/officeart/2005/8/layout/list1"/>
    <dgm:cxn modelId="{078613B1-68AB-4579-81D4-40C9F7B5D096}" type="presOf" srcId="{ADC58996-3291-4BB0-BD25-9594D6FAA158}" destId="{EEE829A4-5619-4372-BE28-7379AC4D6089}" srcOrd="0" destOrd="0" presId="urn:microsoft.com/office/officeart/2005/8/layout/list1"/>
    <dgm:cxn modelId="{29474CB5-6FB1-4A48-8F90-2F41C733AA24}" srcId="{828DBEA4-D718-4CC1-B50A-2A1C72EB6A58}" destId="{ADC58996-3291-4BB0-BD25-9594D6FAA158}" srcOrd="1" destOrd="0" parTransId="{47063AA0-3C44-40EF-9370-75AE65D75D3E}" sibTransId="{A8BFEE7C-DA05-45B1-AAE6-67103A2BA25C}"/>
    <dgm:cxn modelId="{789268D9-C62D-400E-AB93-CD82D49637BB}" type="presOf" srcId="{DF05B67D-3989-4D14-8BED-8C4269FD08C6}" destId="{F939DB99-A411-4132-8246-E38683CE1C47}" srcOrd="1" destOrd="0" presId="urn:microsoft.com/office/officeart/2005/8/layout/list1"/>
    <dgm:cxn modelId="{FC4E8BD9-EA2D-40C5-9DD8-70D1C9C002CE}" type="presOf" srcId="{B359B668-A409-4C44-B3B9-E381C4D49181}" destId="{252BFDA8-0F83-4A94-A380-B6D0F6ACDC8D}" srcOrd="1" destOrd="0" presId="urn:microsoft.com/office/officeart/2005/8/layout/list1"/>
    <dgm:cxn modelId="{F7BCC000-C6F6-46CC-8619-95034EFEB87B}" type="presParOf" srcId="{0C885EFF-9218-49A2-9530-1F2E6878185E}" destId="{A1706F9A-55DD-44EA-B9D6-811358272423}" srcOrd="0" destOrd="0" presId="urn:microsoft.com/office/officeart/2005/8/layout/list1"/>
    <dgm:cxn modelId="{CC4F35B4-7AD6-4C2C-9292-C21404CEE317}" type="presParOf" srcId="{A1706F9A-55DD-44EA-B9D6-811358272423}" destId="{EF1277DC-F282-4A47-A591-A8C6EF7E8E29}" srcOrd="0" destOrd="0" presId="urn:microsoft.com/office/officeart/2005/8/layout/list1"/>
    <dgm:cxn modelId="{A1773697-A865-418C-B04B-18EB9240A509}" type="presParOf" srcId="{A1706F9A-55DD-44EA-B9D6-811358272423}" destId="{F939DB99-A411-4132-8246-E38683CE1C47}" srcOrd="1" destOrd="0" presId="urn:microsoft.com/office/officeart/2005/8/layout/list1"/>
    <dgm:cxn modelId="{0C5D9421-D285-4D19-A4F8-E127938D4998}" type="presParOf" srcId="{0C885EFF-9218-49A2-9530-1F2E6878185E}" destId="{64DC37A7-D1FE-47F1-B327-5DDFD9EA4026}" srcOrd="1" destOrd="0" presId="urn:microsoft.com/office/officeart/2005/8/layout/list1"/>
    <dgm:cxn modelId="{9A177D4D-C069-4994-BE1B-9FB7690C1F17}" type="presParOf" srcId="{0C885EFF-9218-49A2-9530-1F2E6878185E}" destId="{F624665E-D91C-4FD1-A807-DED11EC6054E}" srcOrd="2" destOrd="0" presId="urn:microsoft.com/office/officeart/2005/8/layout/list1"/>
    <dgm:cxn modelId="{C7D03662-5365-4A0D-8C72-EF851B69EB30}" type="presParOf" srcId="{0C885EFF-9218-49A2-9530-1F2E6878185E}" destId="{DFB2BC15-D37D-42AD-B92D-500806F65B5B}" srcOrd="3" destOrd="0" presId="urn:microsoft.com/office/officeart/2005/8/layout/list1"/>
    <dgm:cxn modelId="{90EC1B9E-32E2-4DA0-A376-B9C57912A6FF}" type="presParOf" srcId="{0C885EFF-9218-49A2-9530-1F2E6878185E}" destId="{0D3D39C4-58E1-4AA3-8DCA-D07A7264660C}" srcOrd="4" destOrd="0" presId="urn:microsoft.com/office/officeart/2005/8/layout/list1"/>
    <dgm:cxn modelId="{F79CB727-08DA-4B54-A7F5-FBC8347EFCDF}" type="presParOf" srcId="{0D3D39C4-58E1-4AA3-8DCA-D07A7264660C}" destId="{EEE829A4-5619-4372-BE28-7379AC4D6089}" srcOrd="0" destOrd="0" presId="urn:microsoft.com/office/officeart/2005/8/layout/list1"/>
    <dgm:cxn modelId="{DD2BF725-2833-4D57-B8AC-62CFA8921189}" type="presParOf" srcId="{0D3D39C4-58E1-4AA3-8DCA-D07A7264660C}" destId="{36B8B322-6446-4E7D-9D74-84D2D7F21D93}" srcOrd="1" destOrd="0" presId="urn:microsoft.com/office/officeart/2005/8/layout/list1"/>
    <dgm:cxn modelId="{B54B4AD2-86C8-44F8-8432-D1E2D9C4EB8A}" type="presParOf" srcId="{0C885EFF-9218-49A2-9530-1F2E6878185E}" destId="{44FBD098-1778-42D3-BC12-C819BF682A59}" srcOrd="5" destOrd="0" presId="urn:microsoft.com/office/officeart/2005/8/layout/list1"/>
    <dgm:cxn modelId="{FD89B0B7-6F68-4961-A26D-5CABB9E26F92}" type="presParOf" srcId="{0C885EFF-9218-49A2-9530-1F2E6878185E}" destId="{1DDCD59F-4564-400C-AC07-CB6781E40DDB}" srcOrd="6" destOrd="0" presId="urn:microsoft.com/office/officeart/2005/8/layout/list1"/>
    <dgm:cxn modelId="{23497336-9EB7-4261-BED0-5ED17A2C3CE3}" type="presParOf" srcId="{0C885EFF-9218-49A2-9530-1F2E6878185E}" destId="{E66F0802-2A3C-4CD0-A4E4-788A0CB2F84C}" srcOrd="7" destOrd="0" presId="urn:microsoft.com/office/officeart/2005/8/layout/list1"/>
    <dgm:cxn modelId="{96FEE968-DAA9-444F-A306-56B8C074F400}" type="presParOf" srcId="{0C885EFF-9218-49A2-9530-1F2E6878185E}" destId="{17ECE408-0E5E-467F-ACD1-7BA5707702EC}" srcOrd="8" destOrd="0" presId="urn:microsoft.com/office/officeart/2005/8/layout/list1"/>
    <dgm:cxn modelId="{DD0154E7-4C07-4EAB-A3E2-38E9178DC66F}" type="presParOf" srcId="{17ECE408-0E5E-467F-ACD1-7BA5707702EC}" destId="{A1FCAEED-65BB-4EB3-B59C-921B74D7110C}" srcOrd="0" destOrd="0" presId="urn:microsoft.com/office/officeart/2005/8/layout/list1"/>
    <dgm:cxn modelId="{03C46941-59EF-4F6C-AF95-07F944D260D8}" type="presParOf" srcId="{17ECE408-0E5E-467F-ACD1-7BA5707702EC}" destId="{252BFDA8-0F83-4A94-A380-B6D0F6ACDC8D}" srcOrd="1" destOrd="0" presId="urn:microsoft.com/office/officeart/2005/8/layout/list1"/>
    <dgm:cxn modelId="{05A12270-4158-4016-9CCF-1C21D5456459}" type="presParOf" srcId="{0C885EFF-9218-49A2-9530-1F2E6878185E}" destId="{0587A8A5-2BE6-4A1C-82A8-300EE9190069}" srcOrd="9" destOrd="0" presId="urn:microsoft.com/office/officeart/2005/8/layout/list1"/>
    <dgm:cxn modelId="{2CE62C9A-D524-4D26-A056-F7A9A098C817}" type="presParOf" srcId="{0C885EFF-9218-49A2-9530-1F2E6878185E}" destId="{BC93B5ED-4C19-45EA-88A5-F06950164D2B}" srcOrd="10" destOrd="0" presId="urn:microsoft.com/office/officeart/2005/8/layout/list1"/>
    <dgm:cxn modelId="{505C44B0-17A0-4B4A-B8FC-5D6F8C83B7D0}" type="presParOf" srcId="{0C885EFF-9218-49A2-9530-1F2E6878185E}" destId="{57E3F3EC-5039-4614-AF3C-159D85BBF3A7}" srcOrd="11" destOrd="0" presId="urn:microsoft.com/office/officeart/2005/8/layout/list1"/>
    <dgm:cxn modelId="{F975859D-154E-4F12-967F-9566DED20E0A}" type="presParOf" srcId="{0C885EFF-9218-49A2-9530-1F2E6878185E}" destId="{7C9349FE-5E95-4300-A605-F13D47315359}" srcOrd="12" destOrd="0" presId="urn:microsoft.com/office/officeart/2005/8/layout/list1"/>
    <dgm:cxn modelId="{15AD452F-0A5A-473D-A8F8-4032DEBEF94D}" type="presParOf" srcId="{7C9349FE-5E95-4300-A605-F13D47315359}" destId="{24FB7B39-CE6A-4EC4-9793-445C74DBD315}" srcOrd="0" destOrd="0" presId="urn:microsoft.com/office/officeart/2005/8/layout/list1"/>
    <dgm:cxn modelId="{DAF6680F-D4CF-4CE3-9BD8-A56C36594718}" type="presParOf" srcId="{7C9349FE-5E95-4300-A605-F13D47315359}" destId="{2FCDC5E9-C0C8-468D-BF23-E2BEAF927D54}" srcOrd="1" destOrd="0" presId="urn:microsoft.com/office/officeart/2005/8/layout/list1"/>
    <dgm:cxn modelId="{D0CD714B-E7DC-46CB-9499-398FC9D6797D}" type="presParOf" srcId="{0C885EFF-9218-49A2-9530-1F2E6878185E}" destId="{5362139D-C29A-42CD-9EC4-99B5ABBC5CDC}" srcOrd="13" destOrd="0" presId="urn:microsoft.com/office/officeart/2005/8/layout/list1"/>
    <dgm:cxn modelId="{7210FE04-4C1F-4727-8E8B-F51454BD80F8}" type="presParOf" srcId="{0C885EFF-9218-49A2-9530-1F2E6878185E}" destId="{1C4A511B-0EDB-489B-8BAB-CA2D93B63210}"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C2CEA2-7143-4884-98AE-39D441D54D58}">
      <dsp:nvSpPr>
        <dsp:cNvPr id="0" name=""/>
        <dsp:cNvSpPr/>
      </dsp:nvSpPr>
      <dsp:spPr>
        <a:xfrm>
          <a:off x="-5517337" y="-844728"/>
          <a:ext cx="6569275" cy="6569275"/>
        </a:xfrm>
        <a:prstGeom prst="blockArc">
          <a:avLst>
            <a:gd name="adj1" fmla="val 18900000"/>
            <a:gd name="adj2" fmla="val 2700000"/>
            <a:gd name="adj3" fmla="val 329"/>
          </a:avLst>
        </a:prstGeom>
        <a:noFill/>
        <a:ln w="15875"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2A96917-E56C-4DB6-A44D-FE3BFC72932B}">
      <dsp:nvSpPr>
        <dsp:cNvPr id="0" name=""/>
        <dsp:cNvSpPr/>
      </dsp:nvSpPr>
      <dsp:spPr>
        <a:xfrm>
          <a:off x="459924" y="304891"/>
          <a:ext cx="9956543" cy="610172"/>
        </a:xfrm>
        <a:prstGeom prst="rect">
          <a:avLst/>
        </a:prstGeom>
        <a:solidFill>
          <a:schemeClr val="accent5">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4324"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Algerian" panose="04020705040A02060702" pitchFamily="82" charset="0"/>
            </a:rPr>
            <a:t>Introduction </a:t>
          </a:r>
          <a:endParaRPr lang="en-IN" sz="2000" kern="1200" dirty="0">
            <a:latin typeface="Algerian" panose="04020705040A02060702" pitchFamily="82" charset="0"/>
          </a:endParaRPr>
        </a:p>
      </dsp:txBody>
      <dsp:txXfrm>
        <a:off x="459924" y="304891"/>
        <a:ext cx="9956543" cy="610172"/>
      </dsp:txXfrm>
    </dsp:sp>
    <dsp:sp modelId="{9E14CF2A-6050-476E-A36C-E761A3191AEE}">
      <dsp:nvSpPr>
        <dsp:cNvPr id="0" name=""/>
        <dsp:cNvSpPr/>
      </dsp:nvSpPr>
      <dsp:spPr>
        <a:xfrm>
          <a:off x="78566" y="228619"/>
          <a:ext cx="762715" cy="762715"/>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E337A3FA-207B-4E37-A2DB-9D82DDD43A97}">
      <dsp:nvSpPr>
        <dsp:cNvPr id="0" name=""/>
        <dsp:cNvSpPr/>
      </dsp:nvSpPr>
      <dsp:spPr>
        <a:xfrm>
          <a:off x="897156" y="1219856"/>
          <a:ext cx="9519311" cy="610172"/>
        </a:xfrm>
        <a:prstGeom prst="rect">
          <a:avLst/>
        </a:prstGeom>
        <a:solidFill>
          <a:schemeClr val="accent5">
            <a:hueOff val="1531878"/>
            <a:satOff val="-916"/>
            <a:lumOff val="3775"/>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4324"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Algerian" panose="04020705040A02060702" pitchFamily="82" charset="0"/>
            </a:rPr>
            <a:t>Software requirement specifications and coding &amp; implementation </a:t>
          </a:r>
          <a:endParaRPr lang="en-IN" sz="2000" kern="1200" dirty="0"/>
        </a:p>
      </dsp:txBody>
      <dsp:txXfrm>
        <a:off x="897156" y="1219856"/>
        <a:ext cx="9519311" cy="610172"/>
      </dsp:txXfrm>
    </dsp:sp>
    <dsp:sp modelId="{E1383FA9-8B87-49AA-B92C-83548AA0A3D6}">
      <dsp:nvSpPr>
        <dsp:cNvPr id="0" name=""/>
        <dsp:cNvSpPr/>
      </dsp:nvSpPr>
      <dsp:spPr>
        <a:xfrm>
          <a:off x="515798" y="1143585"/>
          <a:ext cx="762715" cy="762715"/>
        </a:xfrm>
        <a:prstGeom prst="ellipse">
          <a:avLst/>
        </a:prstGeom>
        <a:solidFill>
          <a:schemeClr val="lt1">
            <a:hueOff val="0"/>
            <a:satOff val="0"/>
            <a:lumOff val="0"/>
            <a:alphaOff val="0"/>
          </a:schemeClr>
        </a:solidFill>
        <a:ln w="9525" cap="flat" cmpd="sng" algn="ctr">
          <a:solidFill>
            <a:schemeClr val="accent5">
              <a:hueOff val="1531878"/>
              <a:satOff val="-916"/>
              <a:lumOff val="3775"/>
              <a:alphaOff val="0"/>
            </a:schemeClr>
          </a:solidFill>
          <a:prstDash val="solid"/>
        </a:ln>
        <a:effectLst/>
      </dsp:spPr>
      <dsp:style>
        <a:lnRef idx="1">
          <a:scrgbClr r="0" g="0" b="0"/>
        </a:lnRef>
        <a:fillRef idx="2">
          <a:scrgbClr r="0" g="0" b="0"/>
        </a:fillRef>
        <a:effectRef idx="0">
          <a:scrgbClr r="0" g="0" b="0"/>
        </a:effectRef>
        <a:fontRef idx="minor"/>
      </dsp:style>
    </dsp:sp>
    <dsp:sp modelId="{7079179A-6561-4400-A839-10C8A1DDD2E0}">
      <dsp:nvSpPr>
        <dsp:cNvPr id="0" name=""/>
        <dsp:cNvSpPr/>
      </dsp:nvSpPr>
      <dsp:spPr>
        <a:xfrm>
          <a:off x="1031351" y="2134822"/>
          <a:ext cx="9385117" cy="610172"/>
        </a:xfrm>
        <a:prstGeom prst="rect">
          <a:avLst/>
        </a:prstGeom>
        <a:solidFill>
          <a:schemeClr val="accent5">
            <a:hueOff val="3063757"/>
            <a:satOff val="-1833"/>
            <a:lumOff val="7549"/>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4324"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Algerian" panose="04020705040A02060702" pitchFamily="82" charset="0"/>
            </a:rPr>
            <a:t>Overview of the Data </a:t>
          </a:r>
          <a:endParaRPr lang="en-IN" sz="2000" kern="1200" dirty="0">
            <a:latin typeface="Algerian" panose="04020705040A02060702" pitchFamily="82" charset="0"/>
          </a:endParaRPr>
        </a:p>
      </dsp:txBody>
      <dsp:txXfrm>
        <a:off x="1031351" y="2134822"/>
        <a:ext cx="9385117" cy="610172"/>
      </dsp:txXfrm>
    </dsp:sp>
    <dsp:sp modelId="{8AD80732-AD58-4B04-9200-796373B3E542}">
      <dsp:nvSpPr>
        <dsp:cNvPr id="0" name=""/>
        <dsp:cNvSpPr/>
      </dsp:nvSpPr>
      <dsp:spPr>
        <a:xfrm>
          <a:off x="649993" y="2058551"/>
          <a:ext cx="762715" cy="762715"/>
        </a:xfrm>
        <a:prstGeom prst="ellipse">
          <a:avLst/>
        </a:prstGeom>
        <a:solidFill>
          <a:schemeClr val="lt1">
            <a:hueOff val="0"/>
            <a:satOff val="0"/>
            <a:lumOff val="0"/>
            <a:alphaOff val="0"/>
          </a:schemeClr>
        </a:solidFill>
        <a:ln w="9525" cap="flat" cmpd="sng" algn="ctr">
          <a:solidFill>
            <a:schemeClr val="accent5">
              <a:hueOff val="3063757"/>
              <a:satOff val="-1833"/>
              <a:lumOff val="7549"/>
              <a:alphaOff val="0"/>
            </a:schemeClr>
          </a:solidFill>
          <a:prstDash val="solid"/>
        </a:ln>
        <a:effectLst/>
      </dsp:spPr>
      <dsp:style>
        <a:lnRef idx="1">
          <a:scrgbClr r="0" g="0" b="0"/>
        </a:lnRef>
        <a:fillRef idx="2">
          <a:scrgbClr r="0" g="0" b="0"/>
        </a:fillRef>
        <a:effectRef idx="0">
          <a:scrgbClr r="0" g="0" b="0"/>
        </a:effectRef>
        <a:fontRef idx="minor"/>
      </dsp:style>
    </dsp:sp>
    <dsp:sp modelId="{972F56A7-D102-40A9-AF73-786C6D5CA64A}">
      <dsp:nvSpPr>
        <dsp:cNvPr id="0" name=""/>
        <dsp:cNvSpPr/>
      </dsp:nvSpPr>
      <dsp:spPr>
        <a:xfrm>
          <a:off x="897156" y="3049788"/>
          <a:ext cx="9519311" cy="610172"/>
        </a:xfrm>
        <a:prstGeom prst="rect">
          <a:avLst/>
        </a:prstGeom>
        <a:solidFill>
          <a:schemeClr val="accent5">
            <a:hueOff val="4595635"/>
            <a:satOff val="-2749"/>
            <a:lumOff val="11324"/>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4324"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Algerian" panose="04020705040A02060702" pitchFamily="82" charset="0"/>
            </a:rPr>
            <a:t>Methodology </a:t>
          </a:r>
          <a:endParaRPr lang="en-IN" sz="2000" kern="1200" dirty="0">
            <a:latin typeface="Algerian" panose="04020705040A02060702" pitchFamily="82" charset="0"/>
          </a:endParaRPr>
        </a:p>
      </dsp:txBody>
      <dsp:txXfrm>
        <a:off x="897156" y="3049788"/>
        <a:ext cx="9519311" cy="610172"/>
      </dsp:txXfrm>
    </dsp:sp>
    <dsp:sp modelId="{018EDEF4-6765-4368-86E4-5F4BAD6871B1}">
      <dsp:nvSpPr>
        <dsp:cNvPr id="0" name=""/>
        <dsp:cNvSpPr/>
      </dsp:nvSpPr>
      <dsp:spPr>
        <a:xfrm>
          <a:off x="515798" y="2973517"/>
          <a:ext cx="762715" cy="762715"/>
        </a:xfrm>
        <a:prstGeom prst="ellipse">
          <a:avLst/>
        </a:prstGeom>
        <a:solidFill>
          <a:schemeClr val="lt1">
            <a:hueOff val="0"/>
            <a:satOff val="0"/>
            <a:lumOff val="0"/>
            <a:alphaOff val="0"/>
          </a:schemeClr>
        </a:solidFill>
        <a:ln w="9525" cap="flat" cmpd="sng" algn="ctr">
          <a:solidFill>
            <a:schemeClr val="accent5">
              <a:hueOff val="4595635"/>
              <a:satOff val="-2749"/>
              <a:lumOff val="11324"/>
              <a:alphaOff val="0"/>
            </a:schemeClr>
          </a:solidFill>
          <a:prstDash val="solid"/>
        </a:ln>
        <a:effectLst/>
      </dsp:spPr>
      <dsp:style>
        <a:lnRef idx="1">
          <a:scrgbClr r="0" g="0" b="0"/>
        </a:lnRef>
        <a:fillRef idx="2">
          <a:scrgbClr r="0" g="0" b="0"/>
        </a:fillRef>
        <a:effectRef idx="0">
          <a:scrgbClr r="0" g="0" b="0"/>
        </a:effectRef>
        <a:fontRef idx="minor"/>
      </dsp:style>
    </dsp:sp>
    <dsp:sp modelId="{710A9765-DDA3-4D26-88FF-66CFCC1222C6}">
      <dsp:nvSpPr>
        <dsp:cNvPr id="0" name=""/>
        <dsp:cNvSpPr/>
      </dsp:nvSpPr>
      <dsp:spPr>
        <a:xfrm>
          <a:off x="459924" y="3964754"/>
          <a:ext cx="9956543" cy="610172"/>
        </a:xfrm>
        <a:prstGeom prst="rect">
          <a:avLst/>
        </a:prstGeom>
        <a:solidFill>
          <a:schemeClr val="accent5">
            <a:hueOff val="6127514"/>
            <a:satOff val="-3666"/>
            <a:lumOff val="15098"/>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4324"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Algerian" panose="04020705040A02060702" pitchFamily="82" charset="0"/>
            </a:rPr>
            <a:t>Conclusions and Project Summary, References</a:t>
          </a:r>
          <a:endParaRPr lang="en-IN" sz="2000" kern="1200" dirty="0">
            <a:latin typeface="Algerian" panose="04020705040A02060702" pitchFamily="82" charset="0"/>
          </a:endParaRPr>
        </a:p>
      </dsp:txBody>
      <dsp:txXfrm>
        <a:off x="459924" y="3964754"/>
        <a:ext cx="9956543" cy="610172"/>
      </dsp:txXfrm>
    </dsp:sp>
    <dsp:sp modelId="{6C97A6AF-FC1E-4738-AA9C-E5A0427C8CE3}">
      <dsp:nvSpPr>
        <dsp:cNvPr id="0" name=""/>
        <dsp:cNvSpPr/>
      </dsp:nvSpPr>
      <dsp:spPr>
        <a:xfrm>
          <a:off x="78566" y="3888482"/>
          <a:ext cx="762715" cy="762715"/>
        </a:xfrm>
        <a:prstGeom prst="ellipse">
          <a:avLst/>
        </a:prstGeom>
        <a:solidFill>
          <a:schemeClr val="lt1">
            <a:hueOff val="0"/>
            <a:satOff val="0"/>
            <a:lumOff val="0"/>
            <a:alphaOff val="0"/>
          </a:schemeClr>
        </a:solidFill>
        <a:ln w="9525" cap="flat" cmpd="sng" algn="ctr">
          <a:solidFill>
            <a:schemeClr val="accent5">
              <a:hueOff val="6127514"/>
              <a:satOff val="-3666"/>
              <a:lumOff val="15098"/>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24665E-D91C-4FD1-A807-DED11EC6054E}">
      <dsp:nvSpPr>
        <dsp:cNvPr id="0" name=""/>
        <dsp:cNvSpPr/>
      </dsp:nvSpPr>
      <dsp:spPr>
        <a:xfrm>
          <a:off x="0" y="314277"/>
          <a:ext cx="6979278" cy="504000"/>
        </a:xfrm>
        <a:prstGeom prst="rect">
          <a:avLst/>
        </a:prstGeom>
        <a:solidFill>
          <a:schemeClr val="dk2">
            <a:alpha val="90000"/>
            <a:tint val="40000"/>
            <a:hueOff val="0"/>
            <a:satOff val="0"/>
            <a:lumOff val="0"/>
            <a:alphaOff val="0"/>
          </a:schemeClr>
        </a:solidFill>
        <a:ln w="1587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939DB99-A411-4132-8246-E38683CE1C47}">
      <dsp:nvSpPr>
        <dsp:cNvPr id="0" name=""/>
        <dsp:cNvSpPr/>
      </dsp:nvSpPr>
      <dsp:spPr>
        <a:xfrm>
          <a:off x="348963" y="19077"/>
          <a:ext cx="4885494" cy="590400"/>
        </a:xfrm>
        <a:prstGeom prst="roundRect">
          <a:avLst/>
        </a:prstGeom>
        <a:solidFill>
          <a:schemeClr val="bg1">
            <a:lumMod val="20000"/>
            <a:lumOff val="8000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660" tIns="0" rIns="184660"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bg2">
                  <a:lumMod val="10000"/>
                </a:schemeClr>
              </a:solidFill>
              <a:latin typeface="Bell MT" panose="02020503060305020303" pitchFamily="18" charset="0"/>
            </a:rPr>
            <a:t>Exploratory Data Analysis</a:t>
          </a:r>
          <a:endParaRPr lang="en-IN" sz="1800" kern="1200" dirty="0">
            <a:solidFill>
              <a:schemeClr val="bg2">
                <a:lumMod val="10000"/>
              </a:schemeClr>
            </a:solidFill>
            <a:latin typeface="Bell MT" panose="02020503060305020303" pitchFamily="18" charset="0"/>
          </a:endParaRPr>
        </a:p>
      </dsp:txBody>
      <dsp:txXfrm>
        <a:off x="377784" y="47898"/>
        <a:ext cx="4827852" cy="532758"/>
      </dsp:txXfrm>
    </dsp:sp>
    <dsp:sp modelId="{1DDCD59F-4564-400C-AC07-CB6781E40DDB}">
      <dsp:nvSpPr>
        <dsp:cNvPr id="0" name=""/>
        <dsp:cNvSpPr/>
      </dsp:nvSpPr>
      <dsp:spPr>
        <a:xfrm>
          <a:off x="0" y="1211952"/>
          <a:ext cx="6979278" cy="504000"/>
        </a:xfrm>
        <a:prstGeom prst="rect">
          <a:avLst/>
        </a:prstGeom>
        <a:solidFill>
          <a:schemeClr val="dk2">
            <a:alpha val="90000"/>
            <a:tint val="40000"/>
            <a:hueOff val="0"/>
            <a:satOff val="0"/>
            <a:lumOff val="0"/>
            <a:alphaOff val="0"/>
          </a:schemeClr>
        </a:solidFill>
        <a:ln w="1587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B8B322-6446-4E7D-9D74-84D2D7F21D93}">
      <dsp:nvSpPr>
        <dsp:cNvPr id="0" name=""/>
        <dsp:cNvSpPr/>
      </dsp:nvSpPr>
      <dsp:spPr>
        <a:xfrm>
          <a:off x="348963" y="926277"/>
          <a:ext cx="4885494" cy="590400"/>
        </a:xfrm>
        <a:prstGeom prst="roundRect">
          <a:avLst/>
        </a:prstGeom>
        <a:solidFill>
          <a:schemeClr val="bg1">
            <a:lumMod val="20000"/>
            <a:lumOff val="8000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660" tIns="0" rIns="184660" bIns="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bg2">
                  <a:lumMod val="10000"/>
                </a:schemeClr>
              </a:solidFill>
              <a:latin typeface="Bell MT" panose="02020503060305020303" pitchFamily="18" charset="0"/>
            </a:rPr>
            <a:t>Text Processing </a:t>
          </a:r>
          <a:endParaRPr lang="en-IN" sz="1800" kern="1200" dirty="0">
            <a:solidFill>
              <a:schemeClr val="bg2">
                <a:lumMod val="10000"/>
              </a:schemeClr>
            </a:solidFill>
            <a:latin typeface="Bell MT" panose="02020503060305020303" pitchFamily="18" charset="0"/>
          </a:endParaRPr>
        </a:p>
      </dsp:txBody>
      <dsp:txXfrm>
        <a:off x="377784" y="955098"/>
        <a:ext cx="4827852" cy="532758"/>
      </dsp:txXfrm>
    </dsp:sp>
    <dsp:sp modelId="{BC93B5ED-4C19-45EA-88A5-F06950164D2B}">
      <dsp:nvSpPr>
        <dsp:cNvPr id="0" name=""/>
        <dsp:cNvSpPr/>
      </dsp:nvSpPr>
      <dsp:spPr>
        <a:xfrm>
          <a:off x="0" y="2128677"/>
          <a:ext cx="6979278" cy="504000"/>
        </a:xfrm>
        <a:prstGeom prst="rect">
          <a:avLst/>
        </a:prstGeom>
        <a:solidFill>
          <a:schemeClr val="dk2">
            <a:alpha val="90000"/>
            <a:tint val="40000"/>
            <a:hueOff val="0"/>
            <a:satOff val="0"/>
            <a:lumOff val="0"/>
            <a:alphaOff val="0"/>
          </a:schemeClr>
        </a:solidFill>
        <a:ln w="1587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52BFDA8-0F83-4A94-A380-B6D0F6ACDC8D}">
      <dsp:nvSpPr>
        <dsp:cNvPr id="0" name=""/>
        <dsp:cNvSpPr/>
      </dsp:nvSpPr>
      <dsp:spPr>
        <a:xfrm>
          <a:off x="348963" y="1833477"/>
          <a:ext cx="4885494" cy="590400"/>
        </a:xfrm>
        <a:prstGeom prst="roundRect">
          <a:avLst/>
        </a:prstGeom>
        <a:solidFill>
          <a:schemeClr val="bg1">
            <a:lumMod val="20000"/>
            <a:lumOff val="8000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660" tIns="0" rIns="184660" bIns="0" numCol="1" spcCol="1270" anchor="ctr" anchorCtr="0">
          <a:noAutofit/>
        </a:bodyPr>
        <a:lstStyle/>
        <a:p>
          <a:pPr marL="0" lvl="0" indent="0" algn="l" defTabSz="800100">
            <a:lnSpc>
              <a:spcPct val="90000"/>
            </a:lnSpc>
            <a:spcBef>
              <a:spcPct val="0"/>
            </a:spcBef>
            <a:spcAft>
              <a:spcPct val="35000"/>
            </a:spcAft>
            <a:buNone/>
          </a:pPr>
          <a:r>
            <a:rPr lang="en-IN" sz="1800" kern="1200" dirty="0">
              <a:solidFill>
                <a:schemeClr val="bg2">
                  <a:lumMod val="10000"/>
                </a:schemeClr>
              </a:solidFill>
              <a:latin typeface="Bell MT" panose="02020503060305020303" pitchFamily="18" charset="0"/>
            </a:rPr>
            <a:t>Model training, Model validation</a:t>
          </a:r>
        </a:p>
      </dsp:txBody>
      <dsp:txXfrm>
        <a:off x="377784" y="1862298"/>
        <a:ext cx="4827852" cy="532758"/>
      </dsp:txXfrm>
    </dsp:sp>
    <dsp:sp modelId="{1C4A511B-0EDB-489B-8BAB-CA2D93B63210}">
      <dsp:nvSpPr>
        <dsp:cNvPr id="0" name=""/>
        <dsp:cNvSpPr/>
      </dsp:nvSpPr>
      <dsp:spPr>
        <a:xfrm>
          <a:off x="0" y="3035877"/>
          <a:ext cx="6979278" cy="504000"/>
        </a:xfrm>
        <a:prstGeom prst="rect">
          <a:avLst/>
        </a:prstGeom>
        <a:solidFill>
          <a:schemeClr val="dk2">
            <a:alpha val="90000"/>
            <a:tint val="40000"/>
            <a:hueOff val="0"/>
            <a:satOff val="0"/>
            <a:lumOff val="0"/>
            <a:alphaOff val="0"/>
          </a:schemeClr>
        </a:solidFill>
        <a:ln w="1587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FCDC5E9-C0C8-468D-BF23-E2BEAF927D54}">
      <dsp:nvSpPr>
        <dsp:cNvPr id="0" name=""/>
        <dsp:cNvSpPr/>
      </dsp:nvSpPr>
      <dsp:spPr>
        <a:xfrm>
          <a:off x="348963" y="2740677"/>
          <a:ext cx="4885494" cy="590400"/>
        </a:xfrm>
        <a:prstGeom prst="roundRect">
          <a:avLst/>
        </a:prstGeom>
        <a:solidFill>
          <a:schemeClr val="bg1">
            <a:lumMod val="20000"/>
            <a:lumOff val="8000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660" tIns="0" rIns="184660" bIns="0" numCol="1" spcCol="1270" anchor="ctr" anchorCtr="0">
          <a:noAutofit/>
        </a:bodyPr>
        <a:lstStyle/>
        <a:p>
          <a:pPr marL="0" lvl="0" indent="0" algn="l" defTabSz="800100">
            <a:lnSpc>
              <a:spcPct val="90000"/>
            </a:lnSpc>
            <a:spcBef>
              <a:spcPct val="0"/>
            </a:spcBef>
            <a:spcAft>
              <a:spcPct val="35000"/>
            </a:spcAft>
            <a:buNone/>
          </a:pPr>
          <a:r>
            <a:rPr lang="en-IN" sz="1800" kern="1200" dirty="0">
              <a:solidFill>
                <a:schemeClr val="bg2">
                  <a:lumMod val="10000"/>
                </a:schemeClr>
              </a:solidFill>
              <a:latin typeface="Bell MT" panose="02020503060305020303" pitchFamily="18" charset="0"/>
            </a:rPr>
            <a:t>Sentiment scores, Business insights</a:t>
          </a:r>
        </a:p>
      </dsp:txBody>
      <dsp:txXfrm>
        <a:off x="377784" y="2769498"/>
        <a:ext cx="4827852" cy="532758"/>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8835C57-F9A2-42D3-8CF6-72FD5830C976}"/>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5" name="Footer Placeholder 4">
            <a:extLst>
              <a:ext uri="{FF2B5EF4-FFF2-40B4-BE49-F238E27FC236}">
                <a16:creationId xmlns:a16="http://schemas.microsoft.com/office/drawing/2014/main" id="{F48F4BF8-B7EC-465F-9305-A35ABAC92DE0}"/>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680B490E-D1D2-415F-BE96-DBF73B7A1A34}"/>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433296819"/>
      </p:ext>
    </p:extLst>
  </p:cSld>
  <p:clrMapOvr>
    <a:masterClrMapping/>
  </p:clrMapOvr>
  <p:transition spd="slow">
    <p:cove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FEE761-D03F-4B07-85AC-B758BA91AAB0}"/>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5" name="Footer Placeholder 4">
            <a:extLst>
              <a:ext uri="{FF2B5EF4-FFF2-40B4-BE49-F238E27FC236}">
                <a16:creationId xmlns:a16="http://schemas.microsoft.com/office/drawing/2014/main" id="{7CA40DE4-BFF2-4DD8-AABF-5BB81C79DB03}"/>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BB4AEB91-F9A3-4E8B-A448-854F82E7FBBE}"/>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869097135"/>
      </p:ext>
    </p:extLst>
  </p:cSld>
  <p:clrMapOvr>
    <a:masterClrMapping/>
  </p:clrMapOvr>
  <p:transition spd="slow">
    <p:cove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44B229-B7CE-4C43-8647-8081E501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FBD2CA-740E-45DF-922C-97B968AE69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EBAA082-F55B-447D-9919-EB2B6B7F19AC}"/>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5" name="Footer Placeholder 4">
            <a:extLst>
              <a:ext uri="{FF2B5EF4-FFF2-40B4-BE49-F238E27FC236}">
                <a16:creationId xmlns:a16="http://schemas.microsoft.com/office/drawing/2014/main" id="{3D7924FD-A234-41C5-B382-0C5828AA3175}"/>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9A113FB6-CC57-4B8C-BEE8-70259B9E2A47}"/>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2384916397"/>
      </p:ext>
    </p:extLst>
  </p:cSld>
  <p:clrMapOvr>
    <a:masterClrMapping/>
  </p:clrMapOvr>
  <p:transition spd="slow">
    <p:cove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Content Placeholder 2"/>
          <p:cNvSpPr>
            <a:spLocks noGrp="1"/>
          </p:cNvSpPr>
          <p:nvPr>
            <p:ph sz="quarter" idx="13"/>
          </p:nvPr>
        </p:nvSpPr>
        <p:spPr>
          <a:xfrm>
            <a:off x="913773" y="2367094"/>
            <a:ext cx="10363827"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C3CDC9B-BDDF-45F9-AF29-1FF54BCD5FB4}" type="datetimeFigureOut">
              <a:rPr lang="en-IN" smtClean="0"/>
              <a:t>16-08-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139436749"/>
      </p:ext>
    </p:extLst>
  </p:cSld>
  <p:clrMapOvr>
    <a:masterClrMapping/>
  </p:clrMapOvr>
  <p:transition spd="slow">
    <p:cove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14" name="Title 1"/>
          <p:cNvSpPr>
            <a:spLocks noGrp="1"/>
          </p:cNvSpPr>
          <p:nvPr>
            <p:ph type="title"/>
          </p:nvPr>
        </p:nvSpPr>
        <p:spPr>
          <a:xfrm>
            <a:off x="913776" y="618519"/>
            <a:ext cx="10364451" cy="1596177"/>
          </a:xfrm>
        </p:spPr>
        <p:txBody>
          <a:bodyPr/>
          <a:lstStyle/>
          <a:p>
            <a:r>
              <a:rPr lang="en-US"/>
              <a:t>Click to edit Master title style</a:t>
            </a:r>
            <a:endParaRPr lang="en-US" dirty="0"/>
          </a:p>
        </p:txBody>
      </p:sp>
      <p:sp>
        <p:nvSpPr>
          <p:cNvPr id="12" name="Content Placeholder 2"/>
          <p:cNvSpPr>
            <a:spLocks noGrp="1"/>
          </p:cNvSpPr>
          <p:nvPr>
            <p:ph sz="quarter" idx="13"/>
          </p:nvPr>
        </p:nvSpPr>
        <p:spPr>
          <a:xfrm>
            <a:off x="913773" y="2367094"/>
            <a:ext cx="5106027"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14"/>
          </p:nvPr>
        </p:nvSpPr>
        <p:spPr>
          <a:xfrm>
            <a:off x="6172200" y="2367094"/>
            <a:ext cx="5105400"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C3CDC9B-BDDF-45F9-AF29-1FF54BCD5FB4}" type="datetimeFigureOut">
              <a:rPr lang="en-IN" smtClean="0"/>
              <a:t>16-08-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4240749740"/>
      </p:ext>
    </p:extLst>
  </p:cSld>
  <p:clrMapOvr>
    <a:masterClrMapping/>
  </p:clrMapOvr>
  <p:transition spd="slow">
    <p:cove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417938689"/>
      </p:ext>
    </p:extLst>
  </p:cSld>
  <p:clrMapOvr>
    <a:masterClrMapping/>
  </p:clrMapOvr>
  <p:transition spd="slow">
    <p:cove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323024"/>
      </p:ext>
    </p:extLst>
  </p:cSld>
  <p:clrMapOvr>
    <a:masterClrMapping/>
  </p:clrMapOvr>
  <p:transition spd="slow">
    <p:cove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156078521"/>
      </p:ext>
    </p:extLst>
  </p:cSld>
  <p:clrMapOvr>
    <a:masterClrMapping/>
  </p:clrMapOvr>
  <p:transition spd="slow">
    <p:cove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212105829"/>
      </p:ext>
    </p:extLst>
  </p:cSld>
  <p:clrMapOvr>
    <a:masterClrMapping/>
  </p:clrMapOvr>
  <p:transition spd="slow">
    <p:cove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933824208"/>
      </p:ext>
    </p:extLst>
  </p:cSld>
  <p:clrMapOvr>
    <a:masterClrMapping/>
  </p:clrMapOvr>
  <p:transition spd="slow">
    <p:cove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076093941"/>
      </p:ext>
    </p:extLst>
  </p:cSld>
  <p:clrMapOvr>
    <a:masterClrMapping/>
  </p:clrMapOvr>
  <p:transition spd="slow">
    <p:cove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9102214-BDC5-4F3B-A454-C64095FBF8A8}"/>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5" name="Footer Placeholder 4">
            <a:extLst>
              <a:ext uri="{FF2B5EF4-FFF2-40B4-BE49-F238E27FC236}">
                <a16:creationId xmlns:a16="http://schemas.microsoft.com/office/drawing/2014/main" id="{DD3DE5A2-E0F9-419E-9708-07448B86A392}"/>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4FAE42E0-B021-449E-A119-E9D12DB30701}"/>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661683071"/>
      </p:ext>
    </p:extLst>
  </p:cSld>
  <p:clrMapOvr>
    <a:masterClrMapping/>
  </p:clrMapOvr>
  <p:transition spd="slow">
    <p:cove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130640441"/>
      </p:ext>
    </p:extLst>
  </p:cSld>
  <p:clrMapOvr>
    <a:masterClrMapping/>
  </p:clrMapOvr>
  <p:transition spd="slow">
    <p:cove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733777145"/>
      </p:ext>
    </p:extLst>
  </p:cSld>
  <p:clrMapOvr>
    <a:masterClrMapping/>
  </p:clrMapOvr>
  <p:transition spd="slow">
    <p:cove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56252977"/>
      </p:ext>
    </p:extLst>
  </p:cSld>
  <p:clrMapOvr>
    <a:masterClrMapping/>
  </p:clrMapOvr>
  <p:transition spd="slow">
    <p:cove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981670670"/>
      </p:ext>
    </p:extLst>
  </p:cSld>
  <p:clrMapOvr>
    <a:masterClrMapping/>
  </p:clrMapOvr>
  <p:transition spd="slow">
    <p:cove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8/16/2024</a:t>
            </a:fld>
            <a:endParaRPr lang="en-US"/>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839600380"/>
      </p:ext>
    </p:extLst>
  </p:cSld>
  <p:clrMapOvr>
    <a:masterClrMapping/>
  </p:clrMapOvr>
  <p:transition spd="slow">
    <p:cove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Droplets-HD-Title-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1751012" y="1300785"/>
            <a:ext cx="8689976" cy="2509213"/>
          </a:xfrm>
        </p:spPr>
        <p:txBody>
          <a:bodyPr anchor="b">
            <a:normAutofit/>
          </a:bodyPr>
          <a:lstStyle>
            <a:lvl1pPr algn="ctr">
              <a:defRPr sz="4800"/>
            </a:lvl1pPr>
          </a:lstStyle>
          <a:p>
            <a:r>
              <a:rPr lang="en-US"/>
              <a:t>Click to edit Master title style</a:t>
            </a:r>
            <a:endParaRPr lang="en-US" dirty="0"/>
          </a:p>
        </p:txBody>
      </p:sp>
      <p:sp>
        <p:nvSpPr>
          <p:cNvPr id="3" name="Subtitle 2"/>
          <p:cNvSpPr>
            <a:spLocks noGrp="1"/>
          </p:cNvSpPr>
          <p:nvPr>
            <p:ph type="subTitle" idx="1"/>
          </p:nvPr>
        </p:nvSpPr>
        <p:spPr>
          <a:xfrm>
            <a:off x="1751012" y="3886200"/>
            <a:ext cx="8689976" cy="1371599"/>
          </a:xfrm>
        </p:spPr>
        <p:txBody>
          <a:bodyPr>
            <a:normAutofit/>
          </a:bodyPr>
          <a:lstStyle>
            <a:lvl1pPr marL="0" indent="0" algn="ctr">
              <a:buNone/>
              <a:defRPr sz="22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C3CDC9B-BDDF-45F9-AF29-1FF54BCD5FB4}" type="datetimeFigureOut">
              <a:rPr lang="en-IN" smtClean="0"/>
              <a:t>16-08-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123612521"/>
      </p:ext>
    </p:extLst>
  </p:cSld>
  <p:clrMapOvr>
    <a:masterClrMapping/>
  </p:clrMapOvr>
  <p:transition spd="slow">
    <p:cove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3" name="Picture 2"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12" name="Content Placeholder 2"/>
          <p:cNvSpPr>
            <a:spLocks noGrp="1"/>
          </p:cNvSpPr>
          <p:nvPr>
            <p:ph sz="quarter" idx="13"/>
          </p:nvPr>
        </p:nvSpPr>
        <p:spPr>
          <a:xfrm>
            <a:off x="913774" y="2367092"/>
            <a:ext cx="10363826"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1CF1133-3259-4C45-BABA-5B62D9C6F78D}" type="datetimeFigureOut">
              <a:rPr lang="en-US" smtClean="0"/>
              <a:t>8/1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26835103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4" y="828563"/>
            <a:ext cx="10351752" cy="2736819"/>
          </a:xfrm>
        </p:spPr>
        <p:txBody>
          <a:bodyPr anchor="b">
            <a:normAutofit/>
          </a:bodyPr>
          <a:lstStyle>
            <a:lvl1pPr>
              <a:defRPr sz="4000"/>
            </a:lvl1pPr>
          </a:lstStyle>
          <a:p>
            <a:r>
              <a:rPr lang="en-US"/>
              <a:t>Click to edit Master title style</a:t>
            </a:r>
            <a:endParaRPr lang="en-US" dirty="0"/>
          </a:p>
        </p:txBody>
      </p:sp>
      <p:sp>
        <p:nvSpPr>
          <p:cNvPr id="3" name="Text Placeholder 2"/>
          <p:cNvSpPr>
            <a:spLocks noGrp="1"/>
          </p:cNvSpPr>
          <p:nvPr>
            <p:ph type="body" idx="1"/>
          </p:nvPr>
        </p:nvSpPr>
        <p:spPr>
          <a:xfrm>
            <a:off x="913774" y="3657457"/>
            <a:ext cx="10351752" cy="1368183"/>
          </a:xfrm>
        </p:spPr>
        <p:txBody>
          <a:bodyPr>
            <a:normAutofit/>
          </a:bodyPr>
          <a:lstStyle>
            <a:lvl1pPr marL="0" indent="0" algn="ctr">
              <a:buNone/>
              <a:defRPr sz="2000">
                <a:solidFill>
                  <a:schemeClr val="bg1">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C3CDC9B-BDDF-45F9-AF29-1FF54BCD5FB4}" type="datetimeFigureOut">
              <a:rPr lang="en-IN" smtClean="0"/>
              <a:t>16-08-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4217181460"/>
      </p:ext>
    </p:extLst>
  </p:cSld>
  <p:clrMapOvr>
    <a:masterClrMapping/>
  </p:clrMapOvr>
  <p:transition spd="slow">
    <p:cove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Title 1"/>
          <p:cNvSpPr>
            <a:spLocks noGrp="1"/>
          </p:cNvSpPr>
          <p:nvPr>
            <p:ph type="title"/>
          </p:nvPr>
        </p:nvSpPr>
        <p:spPr>
          <a:xfrm>
            <a:off x="913775" y="618517"/>
            <a:ext cx="10364451" cy="1596177"/>
          </a:xfrm>
        </p:spPr>
        <p:txBody>
          <a:bodyPr/>
          <a:lstStyle/>
          <a:p>
            <a:r>
              <a:rPr lang="en-US"/>
              <a:t>Click to edit Master title style</a:t>
            </a:r>
            <a:endParaRPr lang="en-US" dirty="0"/>
          </a:p>
        </p:txBody>
      </p:sp>
      <p:sp>
        <p:nvSpPr>
          <p:cNvPr id="12" name="Content Placeholder 2"/>
          <p:cNvSpPr>
            <a:spLocks noGrp="1"/>
          </p:cNvSpPr>
          <p:nvPr>
            <p:ph sz="quarter" idx="13"/>
          </p:nvPr>
        </p:nvSpPr>
        <p:spPr>
          <a:xfrm>
            <a:off x="913774" y="2367092"/>
            <a:ext cx="5106026"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14"/>
          </p:nvPr>
        </p:nvSpPr>
        <p:spPr>
          <a:xfrm>
            <a:off x="6172200" y="2367092"/>
            <a:ext cx="5105400"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1CF1133-3259-4C45-BABA-5B62D9C6F78D}" type="datetimeFigureOut">
              <a:rPr lang="en-US" smtClean="0"/>
              <a:t>8/16/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1149093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5" name="Picture 14"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Title 1"/>
          <p:cNvSpPr>
            <a:spLocks noGrp="1"/>
          </p:cNvSpPr>
          <p:nvPr>
            <p:ph type="title"/>
          </p:nvPr>
        </p:nvSpPr>
        <p:spPr>
          <a:xfrm>
            <a:off x="913775" y="618517"/>
            <a:ext cx="10364451" cy="159617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146328" y="2371018"/>
            <a:ext cx="4873474" cy="679994"/>
          </a:xfrm>
        </p:spPr>
        <p:txBody>
          <a:bodyPr anchor="b">
            <a:noAutofit/>
          </a:bodyPr>
          <a:lstStyle>
            <a:lvl1pPr marL="0" indent="0">
              <a:lnSpc>
                <a:spcPct val="85000"/>
              </a:lnSpc>
              <a:buNone/>
              <a:defRPr sz="2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quarter" idx="13"/>
          </p:nvPr>
        </p:nvSpPr>
        <p:spPr>
          <a:xfrm>
            <a:off x="913774" y="3051012"/>
            <a:ext cx="5106027" cy="2740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96423" y="2371018"/>
            <a:ext cx="4881804" cy="679994"/>
          </a:xfrm>
        </p:spPr>
        <p:txBody>
          <a:bodyPr anchor="b">
            <a:noAutofit/>
          </a:bodyPr>
          <a:lstStyle>
            <a:lvl1pPr marL="0" indent="0">
              <a:lnSpc>
                <a:spcPct val="85000"/>
              </a:lnSpc>
              <a:buNone/>
              <a:defRPr sz="2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5"/>
          <p:cNvSpPr>
            <a:spLocks noGrp="1"/>
          </p:cNvSpPr>
          <p:nvPr>
            <p:ph sz="quarter" idx="14"/>
          </p:nvPr>
        </p:nvSpPr>
        <p:spPr>
          <a:xfrm>
            <a:off x="6172200" y="3051012"/>
            <a:ext cx="5105401" cy="2740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1CF1133-3259-4C45-BABA-5B62D9C6F78D}" type="datetimeFigureOut">
              <a:rPr lang="en-US" smtClean="0"/>
              <a:t>8/16/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35752304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DDA0A-72D5-4A47-8608-90887338D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A40760-859E-4D65-ADAF-C6525299D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0495C0-E2FC-4568-BC2B-B312CDA00961}"/>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5" name="Footer Placeholder 4">
            <a:extLst>
              <a:ext uri="{FF2B5EF4-FFF2-40B4-BE49-F238E27FC236}">
                <a16:creationId xmlns:a16="http://schemas.microsoft.com/office/drawing/2014/main" id="{75BC27C3-8E1F-4007-884C-C63975517EB4}"/>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F978BB95-3657-4C2A-B4AB-7CEBA3A10957}"/>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3779240363"/>
      </p:ext>
    </p:extLst>
  </p:cSld>
  <p:clrMapOvr>
    <a:masterClrMapping/>
  </p:clrMapOvr>
  <p:transition spd="slow">
    <p:cove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C3CDC9B-BDDF-45F9-AF29-1FF54BCD5FB4}" type="datetimeFigureOut">
              <a:rPr lang="en-IN" smtClean="0"/>
              <a:t>16-08-2024</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4024382958"/>
      </p:ext>
    </p:extLst>
  </p:cSld>
  <p:clrMapOvr>
    <a:masterClrMapping/>
  </p:clrMapOvr>
  <p:transition spd="slow">
    <p:cove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7" name="Picture 6"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Date Placeholder 1"/>
          <p:cNvSpPr>
            <a:spLocks noGrp="1"/>
          </p:cNvSpPr>
          <p:nvPr>
            <p:ph type="dt" sz="half" idx="10"/>
          </p:nvPr>
        </p:nvSpPr>
        <p:spPr/>
        <p:txBody>
          <a:bodyPr/>
          <a:lstStyle/>
          <a:p>
            <a:fld id="{7C3CDC9B-BDDF-45F9-AF29-1FF54BCD5FB4}" type="datetimeFigureOut">
              <a:rPr lang="en-IN" smtClean="0"/>
              <a:t>16-08-2024</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627682608"/>
      </p:ext>
    </p:extLst>
  </p:cSld>
  <p:clrMapOvr>
    <a:masterClrMapping/>
  </p:clrMapOvr>
  <p:transition spd="slow">
    <p:cove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11" name="Picture 10"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5" y="609600"/>
            <a:ext cx="3935688" cy="2023252"/>
          </a:xfrm>
        </p:spPr>
        <p:txBody>
          <a:bodyPr anchor="b"/>
          <a:lstStyle>
            <a:lvl1pPr algn="ctr">
              <a:defRPr sz="3200"/>
            </a:lvl1pPr>
          </a:lstStyle>
          <a:p>
            <a:r>
              <a:rPr lang="en-US"/>
              <a:t>Click to edit Master title style</a:t>
            </a:r>
            <a:endParaRPr lang="en-US" dirty="0"/>
          </a:p>
        </p:txBody>
      </p:sp>
      <p:sp>
        <p:nvSpPr>
          <p:cNvPr id="10" name="Content Placeholder 2"/>
          <p:cNvSpPr>
            <a:spLocks noGrp="1"/>
          </p:cNvSpPr>
          <p:nvPr>
            <p:ph sz="quarter" idx="13"/>
          </p:nvPr>
        </p:nvSpPr>
        <p:spPr>
          <a:xfrm>
            <a:off x="5078062" y="609600"/>
            <a:ext cx="6200163" cy="5181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74" y="2632852"/>
            <a:ext cx="3935689" cy="3158348"/>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1CF1133-3259-4C45-BABA-5B62D9C6F78D}" type="datetimeFigureOut">
              <a:rPr lang="en-US" smtClean="0"/>
              <a:t>8/16/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31367044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4" y="609600"/>
            <a:ext cx="5934969" cy="2023254"/>
          </a:xfrm>
        </p:spPr>
        <p:txBody>
          <a:bodyPr anchor="b"/>
          <a:lstStyle>
            <a:lvl1pPr algn="ct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24803" y="609601"/>
            <a:ext cx="3255358" cy="5181600"/>
          </a:xfrm>
          <a:prstGeom prst="roundRect">
            <a:avLst>
              <a:gd name="adj" fmla="val 4943"/>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4" y="2632852"/>
            <a:ext cx="5934949" cy="3158347"/>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C3CDC9B-BDDF-45F9-AF29-1FF54BCD5FB4}" type="datetimeFigureOut">
              <a:rPr lang="en-IN" smtClean="0"/>
              <a:t>16-08-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4005832859"/>
      </p:ext>
    </p:extLst>
  </p:cSld>
  <p:clrMapOvr>
    <a:masterClrMapping/>
  </p:clrMapOvr>
  <p:transition spd="slow">
    <p:cove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94" y="4289374"/>
            <a:ext cx="10364432" cy="81161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84744" y="698261"/>
            <a:ext cx="9822532" cy="3214136"/>
          </a:xfrm>
          <a:prstGeom prst="roundRect">
            <a:avLst>
              <a:gd name="adj" fmla="val 4944"/>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74" y="5108728"/>
            <a:ext cx="10364452" cy="682472"/>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CBC1C18-307B-4F68-A007-B5B542270E8D}" type="datetimeFigureOut">
              <a:rPr lang="en-US" smtClean="0"/>
              <a:t>8/16/2024</a:t>
            </a:fld>
            <a:endParaRPr lang="en-US" dirty="0"/>
          </a:p>
        </p:txBody>
      </p:sp>
      <p:sp>
        <p:nvSpPr>
          <p:cNvPr id="6" name="Footer Placeholder 5"/>
          <p:cNvSpPr>
            <a:spLocks noGrp="1"/>
          </p:cNvSpPr>
          <p:nvPr>
            <p:ph type="ftr" sz="quarter" idx="11"/>
          </p:nvPr>
        </p:nvSpPr>
        <p:spPr/>
        <p:txBody>
          <a:bodyPr/>
          <a:lstStyle/>
          <a:p>
            <a:r>
              <a:rPr lang="en-US"/>
              <a:t>
              </a:t>
            </a:r>
            <a:endParaRPr lang="en-US" dirty="0"/>
          </a:p>
        </p:txBody>
      </p:sp>
      <p:sp>
        <p:nvSpPr>
          <p:cNvPr id="7" name="Slide Number Placeholder 6"/>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5607665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4" y="609599"/>
            <a:ext cx="10364452" cy="3427245"/>
          </a:xfrm>
        </p:spPr>
        <p:txBody>
          <a:bodyPr anchor="ctr"/>
          <a:lstStyle>
            <a:lvl1pPr algn="ct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75" y="4204821"/>
            <a:ext cx="10364452" cy="1586380"/>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CBC1C18-307B-4F68-A007-B5B542270E8D}" type="datetimeFigureOut">
              <a:rPr lang="en-US" smtClean="0"/>
              <a:t>8/16/2024</a:t>
            </a:fld>
            <a:endParaRPr lang="en-US" dirty="0"/>
          </a:p>
        </p:txBody>
      </p:sp>
      <p:sp>
        <p:nvSpPr>
          <p:cNvPr id="6" name="Footer Placeholder 5"/>
          <p:cNvSpPr>
            <a:spLocks noGrp="1"/>
          </p:cNvSpPr>
          <p:nvPr>
            <p:ph type="ftr" sz="quarter" idx="11"/>
          </p:nvPr>
        </p:nvSpPr>
        <p:spPr/>
        <p:txBody>
          <a:bodyPr/>
          <a:lstStyle/>
          <a:p>
            <a:r>
              <a:rPr lang="en-US"/>
              <a:t>
              </a:t>
            </a:r>
            <a:endParaRPr lang="en-US" dirty="0"/>
          </a:p>
        </p:txBody>
      </p:sp>
      <p:sp>
        <p:nvSpPr>
          <p:cNvPr id="7" name="Slide Number Placeholder 6"/>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38191291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1446212" y="609600"/>
            <a:ext cx="9302752" cy="2992904"/>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9478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913774" y="4372796"/>
            <a:ext cx="10364452" cy="1421053"/>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CBC1C18-307B-4F68-A007-B5B542270E8D}" type="datetimeFigureOut">
              <a:rPr lang="en-US" smtClean="0"/>
              <a:t>8/16/2024</a:t>
            </a:fld>
            <a:endParaRPr lang="en-US" dirty="0"/>
          </a:p>
        </p:txBody>
      </p:sp>
      <p:sp>
        <p:nvSpPr>
          <p:cNvPr id="6" name="Footer Placeholder 5"/>
          <p:cNvSpPr>
            <a:spLocks noGrp="1"/>
          </p:cNvSpPr>
          <p:nvPr>
            <p:ph type="ftr" sz="quarter" idx="11"/>
          </p:nvPr>
        </p:nvSpPr>
        <p:spPr/>
        <p:txBody>
          <a:bodyPr/>
          <a:lstStyle/>
          <a:p>
            <a:r>
              <a:rPr lang="en-US"/>
              <a:t>
              </a:t>
            </a:r>
            <a:endParaRPr lang="en-US" dirty="0"/>
          </a:p>
        </p:txBody>
      </p:sp>
      <p:sp>
        <p:nvSpPr>
          <p:cNvPr id="7" name="Slide Number Placeholder 6"/>
          <p:cNvSpPr>
            <a:spLocks noGrp="1"/>
          </p:cNvSpPr>
          <p:nvPr>
            <p:ph type="sldNum" sz="quarter" idx="12"/>
          </p:nvPr>
        </p:nvSpPr>
        <p:spPr/>
        <p:txBody>
          <a:bodyPr/>
          <a:lstStyle/>
          <a:p>
            <a:fld id="{F6A9EB40-DCC6-4638-85D3-80E9317F8E49}" type="slidenum">
              <a:rPr lang="en-IN" smtClean="0"/>
              <a:t>‹#›</a:t>
            </a:fld>
            <a:endParaRPr lang="en-IN"/>
          </a:p>
        </p:txBody>
      </p:sp>
      <p:sp>
        <p:nvSpPr>
          <p:cNvPr id="13" name="TextBox 12"/>
          <p:cNvSpPr txBox="1"/>
          <p:nvPr/>
        </p:nvSpPr>
        <p:spPr>
          <a:xfrm>
            <a:off x="1001488" y="75416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4" name="TextBox 13"/>
          <p:cNvSpPr txBox="1"/>
          <p:nvPr/>
        </p:nvSpPr>
        <p:spPr>
          <a:xfrm>
            <a:off x="10557558" y="299357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41397553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5" y="2138721"/>
            <a:ext cx="10364452" cy="2511835"/>
          </a:xfrm>
        </p:spPr>
        <p:txBody>
          <a:bodyPr anchor="b"/>
          <a:lstStyle>
            <a:lvl1pPr algn="ct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75" y="4662335"/>
            <a:ext cx="10364452"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CBC1C18-307B-4F68-A007-B5B542270E8D}" type="datetimeFigureOut">
              <a:rPr lang="en-US" smtClean="0"/>
              <a:t>8/16/2024</a:t>
            </a:fld>
            <a:endParaRPr lang="en-US" dirty="0"/>
          </a:p>
        </p:txBody>
      </p:sp>
      <p:sp>
        <p:nvSpPr>
          <p:cNvPr id="6" name="Footer Placeholder 5"/>
          <p:cNvSpPr>
            <a:spLocks noGrp="1"/>
          </p:cNvSpPr>
          <p:nvPr>
            <p:ph type="ftr" sz="quarter" idx="11"/>
          </p:nvPr>
        </p:nvSpPr>
        <p:spPr/>
        <p:txBody>
          <a:bodyPr/>
          <a:lstStyle/>
          <a:p>
            <a:r>
              <a:rPr lang="en-US"/>
              <a:t>
              </a:t>
            </a:r>
            <a:endParaRPr lang="en-US" dirty="0"/>
          </a:p>
        </p:txBody>
      </p:sp>
      <p:sp>
        <p:nvSpPr>
          <p:cNvPr id="7" name="Slide Number Placeholder 6"/>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14483612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5" name="Title 1"/>
          <p:cNvSpPr>
            <a:spLocks noGrp="1"/>
          </p:cNvSpPr>
          <p:nvPr>
            <p:ph type="title"/>
          </p:nvPr>
        </p:nvSpPr>
        <p:spPr>
          <a:xfrm>
            <a:off x="913774" y="609600"/>
            <a:ext cx="10364452" cy="1605094"/>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74" y="2367093"/>
            <a:ext cx="3298976" cy="576262"/>
          </a:xfrm>
        </p:spPr>
        <p:txBody>
          <a:bodyPr anchor="b">
            <a:noAutofit/>
          </a:bodyPr>
          <a:lstStyle>
            <a:lvl1pPr marL="0" indent="0" algn="ctr">
              <a:lnSpc>
                <a:spcPct val="8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913774" y="2943355"/>
            <a:ext cx="3298976"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452389" y="2367093"/>
            <a:ext cx="3291521" cy="576262"/>
          </a:xfrm>
        </p:spPr>
        <p:txBody>
          <a:bodyPr anchor="b">
            <a:noAutofit/>
          </a:bodyPr>
          <a:lstStyle>
            <a:lvl1pPr marL="0" indent="0" algn="ctr">
              <a:lnSpc>
                <a:spcPct val="8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441348" y="2943355"/>
            <a:ext cx="3303351"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973298" y="2367093"/>
            <a:ext cx="3304928" cy="576262"/>
          </a:xfrm>
        </p:spPr>
        <p:txBody>
          <a:bodyPr anchor="b">
            <a:noAutofit/>
          </a:bodyPr>
          <a:lstStyle>
            <a:lvl1pPr marL="0" indent="0" algn="ctr">
              <a:lnSpc>
                <a:spcPct val="8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973298" y="2943355"/>
            <a:ext cx="3304928"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3CBC1C18-307B-4F68-A007-B5B542270E8D}" type="datetimeFigureOut">
              <a:rPr lang="en-US" smtClean="0"/>
              <a:t>8/16/2024</a:t>
            </a:fld>
            <a:endParaRPr lang="en-US" dirty="0"/>
          </a:p>
        </p:txBody>
      </p:sp>
      <p:sp>
        <p:nvSpPr>
          <p:cNvPr id="4" name="Footer Placeholder 3"/>
          <p:cNvSpPr>
            <a:spLocks noGrp="1"/>
          </p:cNvSpPr>
          <p:nvPr>
            <p:ph type="ftr" sz="quarter" idx="11"/>
          </p:nvPr>
        </p:nvSpPr>
        <p:spPr/>
        <p:txBody>
          <a:bodyPr/>
          <a:lstStyle/>
          <a:p>
            <a:r>
              <a:rPr lang="en-US"/>
              <a:t>
              </a:t>
            </a:r>
            <a:endParaRPr lang="en-US" dirty="0"/>
          </a:p>
        </p:txBody>
      </p:sp>
      <p:sp>
        <p:nvSpPr>
          <p:cNvPr id="5" name="Slide Number Placeholder 4"/>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25402551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6" name="Picture 15"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0" name="Title 1"/>
          <p:cNvSpPr>
            <a:spLocks noGrp="1"/>
          </p:cNvSpPr>
          <p:nvPr>
            <p:ph type="title"/>
          </p:nvPr>
        </p:nvSpPr>
        <p:spPr>
          <a:xfrm>
            <a:off x="913774" y="610772"/>
            <a:ext cx="10364452" cy="1603922"/>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74" y="4204820"/>
            <a:ext cx="3296409" cy="576262"/>
          </a:xfrm>
        </p:spPr>
        <p:txBody>
          <a:bodyPr anchor="b">
            <a:noAutofit/>
          </a:bodyPr>
          <a:lstStyle>
            <a:lvl1pPr marL="0" indent="0" algn="ctr">
              <a:lnSpc>
                <a:spcPct val="8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913774" y="2367093"/>
            <a:ext cx="3296409" cy="1524000"/>
          </a:xfrm>
          <a:prstGeom prst="roundRect">
            <a:avLst>
              <a:gd name="adj" fmla="val 9363"/>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74" y="4781082"/>
            <a:ext cx="3296409" cy="101011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42759" y="4204820"/>
            <a:ext cx="3301828" cy="576262"/>
          </a:xfrm>
        </p:spPr>
        <p:txBody>
          <a:bodyPr anchor="b">
            <a:noAutofit/>
          </a:bodyPr>
          <a:lstStyle>
            <a:lvl1pPr marL="0" indent="0" algn="ctr">
              <a:lnSpc>
                <a:spcPct val="8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41348" y="2367093"/>
            <a:ext cx="3303352" cy="1524000"/>
          </a:xfrm>
          <a:prstGeom prst="roundRect">
            <a:avLst>
              <a:gd name="adj" fmla="val 8841"/>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348" y="4781080"/>
            <a:ext cx="3303352" cy="101011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973298" y="4204820"/>
            <a:ext cx="3300681" cy="576262"/>
          </a:xfrm>
        </p:spPr>
        <p:txBody>
          <a:bodyPr anchor="b">
            <a:noAutofit/>
          </a:bodyPr>
          <a:lstStyle>
            <a:lvl1pPr marL="0" indent="0" algn="ctr">
              <a:lnSpc>
                <a:spcPct val="8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973298" y="2367093"/>
            <a:ext cx="3304928" cy="1524000"/>
          </a:xfrm>
          <a:prstGeom prst="roundRect">
            <a:avLst>
              <a:gd name="adj" fmla="val 8841"/>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73173" y="4781078"/>
            <a:ext cx="3305053" cy="1010121"/>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3CBC1C18-307B-4F68-A007-B5B542270E8D}" type="datetimeFigureOut">
              <a:rPr lang="en-US" smtClean="0"/>
              <a:t>8/16/2024</a:t>
            </a:fld>
            <a:endParaRPr lang="en-US" dirty="0"/>
          </a:p>
        </p:txBody>
      </p:sp>
      <p:sp>
        <p:nvSpPr>
          <p:cNvPr id="4" name="Footer Placeholder 3"/>
          <p:cNvSpPr>
            <a:spLocks noGrp="1"/>
          </p:cNvSpPr>
          <p:nvPr>
            <p:ph type="ftr" sz="quarter" idx="11"/>
          </p:nvPr>
        </p:nvSpPr>
        <p:spPr/>
        <p:txBody>
          <a:bodyPr/>
          <a:lstStyle/>
          <a:p>
            <a:r>
              <a:rPr lang="en-US"/>
              <a:t>
              </a:t>
            </a:r>
            <a:endParaRPr lang="en-US" dirty="0"/>
          </a:p>
        </p:txBody>
      </p:sp>
      <p:sp>
        <p:nvSpPr>
          <p:cNvPr id="5" name="Slide Number Placeholder 4"/>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799798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E1BD4F05-A819-4AF6-AB17-308DD67A1252}"/>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6" name="Footer Placeholder 5">
            <a:extLst>
              <a:ext uri="{FF2B5EF4-FFF2-40B4-BE49-F238E27FC236}">
                <a16:creationId xmlns:a16="http://schemas.microsoft.com/office/drawing/2014/main" id="{DCB8503A-166E-472B-964E-5E7FC155F0B8}"/>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7" name="Slide Number Placeholder 6">
            <a:extLst>
              <a:ext uri="{FF2B5EF4-FFF2-40B4-BE49-F238E27FC236}">
                <a16:creationId xmlns:a16="http://schemas.microsoft.com/office/drawing/2014/main" id="{A1562E2D-A7E0-4A99-BB6A-DF7C3D8EC637}"/>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4186447433"/>
      </p:ext>
    </p:extLst>
  </p:cSld>
  <p:clrMapOvr>
    <a:masterClrMapping/>
  </p:clrMapOvr>
  <p:transition spd="slow">
    <p:cove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11" name="Vertical Text Placeholder 2"/>
          <p:cNvSpPr>
            <a:spLocks noGrp="1"/>
          </p:cNvSpPr>
          <p:nvPr>
            <p:ph type="body" orient="vert" sz="quarter" idx="13"/>
          </p:nvPr>
        </p:nvSpPr>
        <p:spPr>
          <a:xfrm>
            <a:off x="913775" y="2367093"/>
            <a:ext cx="10364452" cy="34241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1CF1133-3259-4C45-BABA-5B62D9C6F78D}" type="datetimeFigureOut">
              <a:rPr lang="en-US" smtClean="0"/>
              <a:t>8/1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33413017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9" name="Picture 8"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Vertical Title 1"/>
          <p:cNvSpPr>
            <a:spLocks noGrp="1"/>
          </p:cNvSpPr>
          <p:nvPr>
            <p:ph type="title" orient="vert"/>
          </p:nvPr>
        </p:nvSpPr>
        <p:spPr>
          <a:xfrm>
            <a:off x="8724900" y="609601"/>
            <a:ext cx="2553326" cy="5181599"/>
          </a:xfrm>
        </p:spPr>
        <p:txBody>
          <a:bodyPr vert="eaVert"/>
          <a:lstStyle>
            <a:lvl1pPr algn="l">
              <a:defRPr/>
            </a:lvl1pPr>
          </a:lstStyle>
          <a:p>
            <a:r>
              <a:rPr lang="en-US"/>
              <a:t>Click to edit Master title style</a:t>
            </a:r>
            <a:endParaRPr lang="en-US" dirty="0"/>
          </a:p>
        </p:txBody>
      </p:sp>
      <p:sp>
        <p:nvSpPr>
          <p:cNvPr id="8" name="Vertical Text Placeholder 2"/>
          <p:cNvSpPr>
            <a:spLocks noGrp="1"/>
          </p:cNvSpPr>
          <p:nvPr>
            <p:ph type="body" orient="vert" sz="quarter" idx="13"/>
          </p:nvPr>
        </p:nvSpPr>
        <p:spPr>
          <a:xfrm>
            <a:off x="913775" y="609601"/>
            <a:ext cx="7658724" cy="518159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1CF1133-3259-4C45-BABA-5B62D9C6F78D}" type="datetimeFigureOut">
              <a:rPr lang="en-US" smtClean="0"/>
              <a:t>8/1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2321813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03A3-F4FC-45A7-A280-B1AABF0BD2D7}"/>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8C8917-0680-4D3C-B7BD-B9BCA1C90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4A027F-B654-43A0-A51D-FB6115F0B5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D9417CC2-BBC3-42A6-BEB1-84CDCF6BA0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783B8-A2EE-4C6A-88C6-22322E1FD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D2D3B6C0-BEAF-468F-8260-6988D8AE8966}"/>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8" name="Footer Placeholder 7">
            <a:extLst>
              <a:ext uri="{FF2B5EF4-FFF2-40B4-BE49-F238E27FC236}">
                <a16:creationId xmlns:a16="http://schemas.microsoft.com/office/drawing/2014/main" id="{FC025079-910A-4AFC-85D3-0C244E9F9E1E}"/>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9" name="Slide Number Placeholder 8">
            <a:extLst>
              <a:ext uri="{FF2B5EF4-FFF2-40B4-BE49-F238E27FC236}">
                <a16:creationId xmlns:a16="http://schemas.microsoft.com/office/drawing/2014/main" id="{86A8DECD-AB56-46C3-A011-F7D96D5D10CC}"/>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311304501"/>
      </p:ext>
    </p:extLst>
  </p:cSld>
  <p:clrMapOvr>
    <a:masterClrMapping/>
  </p:clrMapOvr>
  <p:transition spd="slow">
    <p:cove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BF820738-FA88-4028-BBC6-3BCEC18C3739}"/>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4" name="Footer Placeholder 3">
            <a:extLst>
              <a:ext uri="{FF2B5EF4-FFF2-40B4-BE49-F238E27FC236}">
                <a16:creationId xmlns:a16="http://schemas.microsoft.com/office/drawing/2014/main" id="{59DA47AB-A97C-4756-84B3-0A56BA839180}"/>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5" name="Slide Number Placeholder 4">
            <a:extLst>
              <a:ext uri="{FF2B5EF4-FFF2-40B4-BE49-F238E27FC236}">
                <a16:creationId xmlns:a16="http://schemas.microsoft.com/office/drawing/2014/main" id="{063BA8CB-41E4-464D-99C5-0162A8E47059}"/>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3755508726"/>
      </p:ext>
    </p:extLst>
  </p:cSld>
  <p:clrMapOvr>
    <a:masterClrMapping/>
  </p:clrMapOvr>
  <p:transition spd="slow">
    <p:cove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90BD16-A135-48C0-ACF6-A0668E2B38F1}"/>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3" name="Footer Placeholder 2">
            <a:extLst>
              <a:ext uri="{FF2B5EF4-FFF2-40B4-BE49-F238E27FC236}">
                <a16:creationId xmlns:a16="http://schemas.microsoft.com/office/drawing/2014/main" id="{076DB9B6-5C40-4AEA-A88A-493A90DD4101}"/>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4" name="Slide Number Placeholder 3">
            <a:extLst>
              <a:ext uri="{FF2B5EF4-FFF2-40B4-BE49-F238E27FC236}">
                <a16:creationId xmlns:a16="http://schemas.microsoft.com/office/drawing/2014/main" id="{CF1D0684-089C-4E8D-A267-EAC47A42EA74}"/>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2647395220"/>
      </p:ext>
    </p:extLst>
  </p:cSld>
  <p:clrMapOvr>
    <a:masterClrMapping/>
  </p:clrMapOvr>
  <p:transition spd="slow">
    <p:cove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53301B98-1FCE-4191-8E6D-6D0A24A7C7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5D3DF-A55B-416A-B7AC-6D47BBE48E91}"/>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6" name="Footer Placeholder 5">
            <a:extLst>
              <a:ext uri="{FF2B5EF4-FFF2-40B4-BE49-F238E27FC236}">
                <a16:creationId xmlns:a16="http://schemas.microsoft.com/office/drawing/2014/main" id="{84E54116-9698-4FC1-9A65-8AE4E8E0A75F}"/>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7" name="Slide Number Placeholder 6">
            <a:extLst>
              <a:ext uri="{FF2B5EF4-FFF2-40B4-BE49-F238E27FC236}">
                <a16:creationId xmlns:a16="http://schemas.microsoft.com/office/drawing/2014/main" id="{9532455F-A027-49C8-A8E9-6B66C2D2B70C}"/>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3301387678"/>
      </p:ext>
    </p:extLst>
  </p:cSld>
  <p:clrMapOvr>
    <a:masterClrMapping/>
  </p:clrMapOvr>
  <p:transition spd="slow">
    <p:cove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BC948E3-B2D4-43CA-B95C-D20133AA97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ID"/>
          </a:p>
        </p:txBody>
      </p:sp>
      <p:sp>
        <p:nvSpPr>
          <p:cNvPr id="4" name="Text Placeholder 3">
            <a:extLst>
              <a:ext uri="{FF2B5EF4-FFF2-40B4-BE49-F238E27FC236}">
                <a16:creationId xmlns:a16="http://schemas.microsoft.com/office/drawing/2014/main"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391798-B039-4C8A-A0E9-EDF9AA152244}"/>
              </a:ext>
            </a:extLst>
          </p:cNvPr>
          <p:cNvSpPr>
            <a:spLocks noGrp="1"/>
          </p:cNvSpPr>
          <p:nvPr>
            <p:ph type="dt" sz="half" idx="10"/>
          </p:nvPr>
        </p:nvSpPr>
        <p:spPr>
          <a:xfrm>
            <a:off x="838200" y="6356350"/>
            <a:ext cx="2743200" cy="365125"/>
          </a:xfrm>
          <a:prstGeom prst="rect">
            <a:avLst/>
          </a:prstGeom>
        </p:spPr>
        <p:txBody>
          <a:bodyPr/>
          <a:lstStyle/>
          <a:p>
            <a:fld id="{7C3CDC9B-BDDF-45F9-AF29-1FF54BCD5FB4}" type="datetimeFigureOut">
              <a:rPr lang="en-IN" smtClean="0"/>
              <a:t>16-08-2024</a:t>
            </a:fld>
            <a:endParaRPr lang="en-IN"/>
          </a:p>
        </p:txBody>
      </p:sp>
      <p:sp>
        <p:nvSpPr>
          <p:cNvPr id="6" name="Footer Placeholder 5">
            <a:extLst>
              <a:ext uri="{FF2B5EF4-FFF2-40B4-BE49-F238E27FC236}">
                <a16:creationId xmlns:a16="http://schemas.microsoft.com/office/drawing/2014/main" id="{884D96C0-F3C2-412C-997D-62FB23B377F6}"/>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7" name="Slide Number Placeholder 6">
            <a:extLst>
              <a:ext uri="{FF2B5EF4-FFF2-40B4-BE49-F238E27FC236}">
                <a16:creationId xmlns:a16="http://schemas.microsoft.com/office/drawing/2014/main" id="{46ACB663-09ED-4366-AC4C-86761BB2EAF9}"/>
              </a:ext>
            </a:extLst>
          </p:cNvPr>
          <p:cNvSpPr>
            <a:spLocks noGrp="1"/>
          </p:cNvSpPr>
          <p:nvPr>
            <p:ph type="sldNum" sz="quarter" idx="12"/>
          </p:nvPr>
        </p:nvSpPr>
        <p:spPr/>
        <p:txBody>
          <a:bodyPr/>
          <a:lstStyle/>
          <a:p>
            <a:fld id="{F6A9EB40-DCC6-4638-85D3-80E9317F8E49}" type="slidenum">
              <a:rPr lang="en-IN" smtClean="0"/>
              <a:t>‹#›</a:t>
            </a:fld>
            <a:endParaRPr lang="en-IN"/>
          </a:p>
        </p:txBody>
      </p:sp>
    </p:spTree>
    <p:extLst>
      <p:ext uri="{BB962C8B-B14F-4D97-AF65-F5344CB8AC3E}">
        <p14:creationId xmlns:p14="http://schemas.microsoft.com/office/powerpoint/2010/main" val="3366436277"/>
      </p:ext>
    </p:extLst>
  </p:cSld>
  <p:clrMapOvr>
    <a:masterClrMapping/>
  </p:clrMapOvr>
  <p:transition spd="slow">
    <p:cove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1.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2.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DE22D-EF3A-4FAB-A025-F27A1269DDF9}"/>
              </a:ext>
            </a:extLst>
          </p:cNvPr>
          <p:cNvSpPr>
            <a:spLocks noGrp="1"/>
          </p:cNvSpPr>
          <p:nvPr>
            <p:ph type="title"/>
          </p:nvPr>
        </p:nvSpPr>
        <p:spPr>
          <a:xfrm>
            <a:off x="550624" y="365126"/>
            <a:ext cx="11090753" cy="874952"/>
          </a:xfrm>
          <a:prstGeom prst="rect">
            <a:avLst/>
          </a:prstGeom>
        </p:spPr>
        <p:txBody>
          <a:bodyPr vert="horz" lIns="91440" tIns="45720" rIns="91440" bIns="45720" rtlCol="0" anchor="ctr">
            <a:normAutofit/>
          </a:bodyPr>
          <a:lstStyle/>
          <a:p>
            <a:r>
              <a:rPr lang="en-US"/>
              <a:t>Click to edit Master title style</a:t>
            </a:r>
            <a:endParaRPr lang="en-ID" dirty="0"/>
          </a:p>
        </p:txBody>
      </p:sp>
      <p:sp>
        <p:nvSpPr>
          <p:cNvPr id="3" name="Text Placeholder 2">
            <a:extLst>
              <a:ext uri="{FF2B5EF4-FFF2-40B4-BE49-F238E27FC236}">
                <a16:creationId xmlns:a16="http://schemas.microsoft.com/office/drawing/2014/main" id="{EB035472-4EC2-4C9C-81D2-F8D09A70BB6B}"/>
              </a:ext>
            </a:extLst>
          </p:cNvPr>
          <p:cNvSpPr>
            <a:spLocks noGrp="1"/>
          </p:cNvSpPr>
          <p:nvPr>
            <p:ph type="body" idx="1"/>
          </p:nvPr>
        </p:nvSpPr>
        <p:spPr>
          <a:xfrm>
            <a:off x="550623" y="1453019"/>
            <a:ext cx="11090753" cy="472394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dirty="0"/>
          </a:p>
        </p:txBody>
      </p:sp>
      <p:sp>
        <p:nvSpPr>
          <p:cNvPr id="6" name="Slide Number Placeholder 5">
            <a:extLst>
              <a:ext uri="{FF2B5EF4-FFF2-40B4-BE49-F238E27FC236}">
                <a16:creationId xmlns:a16="http://schemas.microsoft.com/office/drawing/2014/main" id="{F7A03086-C061-4825-BFB5-39C4669F6B3C}"/>
              </a:ext>
            </a:extLst>
          </p:cNvPr>
          <p:cNvSpPr>
            <a:spLocks noGrp="1"/>
          </p:cNvSpPr>
          <p:nvPr>
            <p:ph type="sldNum" sz="quarter" idx="4"/>
          </p:nvPr>
        </p:nvSpPr>
        <p:spPr>
          <a:xfrm>
            <a:off x="11210794" y="6356350"/>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6A9EB40-DCC6-4638-85D3-80E9317F8E49}" type="slidenum">
              <a:rPr lang="en-IN" smtClean="0"/>
              <a:t>‹#›</a:t>
            </a:fld>
            <a:endParaRPr lang="en-IN"/>
          </a:p>
        </p:txBody>
      </p:sp>
    </p:spTree>
    <p:extLst>
      <p:ext uri="{BB962C8B-B14F-4D97-AF65-F5344CB8AC3E}">
        <p14:creationId xmlns:p14="http://schemas.microsoft.com/office/powerpoint/2010/main" val="3290435873"/>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Lst>
  <p:transition spd="slow">
    <p:cover/>
  </p:transition>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p:custDataLst>
              <p:tags r:id="rId13"/>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8/16/2024</a:t>
            </a:fld>
            <a:endParaRPr lang="en-US"/>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a:p>
        </p:txBody>
      </p:sp>
    </p:spTree>
    <p:extLst>
      <p:ext uri="{BB962C8B-B14F-4D97-AF65-F5344CB8AC3E}">
        <p14:creationId xmlns:p14="http://schemas.microsoft.com/office/powerpoint/2010/main" val="3094215967"/>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Lst>
  <p:transition spd="slow">
    <p:cover/>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1026" name="Picture 2" descr="\\DROBO-FS\QuickDrops\JB\PPTX NG\Droplets\LightingOverlay.png"/>
          <p:cNvPicPr>
            <a:picLocks noChangeAspect="1" noChangeArrowheads="1"/>
          </p:cNvPicPr>
          <p:nvPr/>
        </p:nvPicPr>
        <p:blipFill>
          <a:blip r:embed="rId19">
            <a:alphaModFix amt="8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913775" y="618517"/>
            <a:ext cx="10364451" cy="159617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75" y="2367093"/>
            <a:ext cx="10364452" cy="342410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7" y="5883275"/>
            <a:ext cx="2743200" cy="365125"/>
          </a:xfrm>
          <a:prstGeom prst="rect">
            <a:avLst/>
          </a:prstGeom>
        </p:spPr>
        <p:txBody>
          <a:bodyPr vert="horz" lIns="91440" tIns="45720" rIns="91440" bIns="45720" rtlCol="0" anchor="ctr"/>
          <a:lstStyle>
            <a:lvl1pPr algn="r">
              <a:defRPr sz="1000">
                <a:solidFill>
                  <a:schemeClr val="tx1"/>
                </a:solidFill>
              </a:defRPr>
            </a:lvl1pPr>
          </a:lstStyle>
          <a:p>
            <a:fld id="{48A87A34-81AB-432B-8DAE-1953F412C126}" type="datetimeFigureOut">
              <a:rPr lang="en-US" dirty="0"/>
              <a:pPr/>
              <a:t>8/16/2024</a:t>
            </a:fld>
            <a:endParaRPr lang="en-US" dirty="0"/>
          </a:p>
        </p:txBody>
      </p:sp>
      <p:sp>
        <p:nvSpPr>
          <p:cNvPr id="5" name="Footer Placeholder 4"/>
          <p:cNvSpPr>
            <a:spLocks noGrp="1"/>
          </p:cNvSpPr>
          <p:nvPr>
            <p:ph type="ftr" sz="quarter" idx="3"/>
          </p:nvPr>
        </p:nvSpPr>
        <p:spPr>
          <a:xfrm>
            <a:off x="913774" y="5883275"/>
            <a:ext cx="6672887" cy="365125"/>
          </a:xfrm>
          <a:prstGeom prst="rect">
            <a:avLst/>
          </a:prstGeom>
        </p:spPr>
        <p:txBody>
          <a:bodyPr vert="horz" lIns="91440" tIns="45720" rIns="91440" bIns="45720" rtlCol="0" anchor="ctr"/>
          <a:lstStyle>
            <a:lvl1pPr algn="l">
              <a:defRPr sz="1000">
                <a:solidFill>
                  <a:schemeClr val="tx1"/>
                </a:solidFill>
              </a:defRPr>
            </a:lvl1pPr>
          </a:lstStyle>
          <a:p>
            <a:endParaRPr lang="en-US" dirty="0"/>
          </a:p>
        </p:txBody>
      </p:sp>
      <p:sp>
        <p:nvSpPr>
          <p:cNvPr id="6" name="Slide Number Placeholder 5"/>
          <p:cNvSpPr>
            <a:spLocks noGrp="1"/>
          </p:cNvSpPr>
          <p:nvPr>
            <p:ph type="sldNum" sz="quarter" idx="4"/>
          </p:nvPr>
        </p:nvSpPr>
        <p:spPr>
          <a:xfrm>
            <a:off x="10514011" y="5883275"/>
            <a:ext cx="764215" cy="365125"/>
          </a:xfrm>
          <a:prstGeom prst="rect">
            <a:avLst/>
          </a:prstGeom>
        </p:spPr>
        <p:txBody>
          <a:bodyPr vert="horz" lIns="91440" tIns="45720" rIns="91440" bIns="45720" rtlCol="0" anchor="ctr"/>
          <a:lstStyle>
            <a:lvl1pPr algn="r">
              <a:defRPr sz="1000">
                <a:solidFill>
                  <a:schemeClr val="tx1"/>
                </a:solidFill>
              </a:defRPr>
            </a:lvl1pPr>
          </a:lstStyle>
          <a:p>
            <a:fld id="{F6A9EB40-DCC6-4638-85D3-80E9317F8E49}" type="slidenum">
              <a:rPr lang="en-IN" smtClean="0"/>
              <a:t>‹#›</a:t>
            </a:fld>
            <a:endParaRPr lang="en-IN"/>
          </a:p>
        </p:txBody>
      </p:sp>
    </p:spTree>
    <p:extLst>
      <p:ext uri="{BB962C8B-B14F-4D97-AF65-F5344CB8AC3E}">
        <p14:creationId xmlns:p14="http://schemas.microsoft.com/office/powerpoint/2010/main" val="3310232420"/>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 id="2147484182" r:id="rId17"/>
  </p:sldLayoutIdLst>
  <p:transition spd="slow">
    <p:cover/>
  </p:transition>
  <p:txStyles>
    <p:titleStyle>
      <a:lvl1pPr algn="ctr" defTabSz="914400" rtl="0" eaLnBrk="1" latinLnBrk="0" hangingPunct="1">
        <a:lnSpc>
          <a:spcPct val="90000"/>
        </a:lnSpc>
        <a:spcBef>
          <a:spcPct val="0"/>
        </a:spcBef>
        <a:buNone/>
        <a:defRPr sz="3600" kern="1200" cap="all" baseline="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tx1"/>
        </a:buClr>
        <a:buFont typeface="Arial" panose="020B0604020202020204" pitchFamily="34" charset="0"/>
        <a:buChar char="•"/>
        <a:defRPr sz="2000" kern="1200" cap="all" baseline="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tx1"/>
        </a:buClr>
        <a:buFont typeface="Arial" panose="020B0604020202020204" pitchFamily="34" charset="0"/>
        <a:buChar char="•"/>
        <a:defRPr sz="1800" kern="1200" cap="all"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ctrl.blog/entry/amazon-affiliate-australia.html" TargetMode="External"/><Relationship Id="rId2" Type="http://schemas.openxmlformats.org/officeDocument/2006/relationships/image" Target="../media/image5.jpeg"/><Relationship Id="rId1" Type="http://schemas.openxmlformats.org/officeDocument/2006/relationships/slideLayout" Target="../slideLayouts/slideLayout27.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0.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6.xml"/><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3" Type="http://schemas.openxmlformats.org/officeDocument/2006/relationships/hyperlink" Target="http://textblob.readthedocs.io/en/dev/" TargetMode="External"/><Relationship Id="rId2" Type="http://schemas.openxmlformats.org/officeDocument/2006/relationships/hyperlink" Target="http://www.nltk.org(http/www.nltk.org/)" TargetMode="External"/><Relationship Id="rId1" Type="http://schemas.openxmlformats.org/officeDocument/2006/relationships/slideLayout" Target="../slideLayouts/slideLayout26.xml"/><Relationship Id="rId5" Type="http://schemas.openxmlformats.org/officeDocument/2006/relationships/slide" Target="slide30.xml"/><Relationship Id="rId4" Type="http://schemas.openxmlformats.org/officeDocument/2006/relationships/hyperlink" Target="https://scikitlearn.org/stable/downloads/scikit-learn-docs.pdf"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Layout" Target="../slideLayouts/slideLayout30.xml"/><Relationship Id="rId6" Type="http://schemas.openxmlformats.org/officeDocument/2006/relationships/image" Target="../media/image13.jpe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image" Target="../media/image18.pn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5957BB9C-05E8-CBD2-9C6B-860778A723FD}"/>
              </a:ext>
            </a:extLst>
          </p:cNvPr>
          <p:cNvSpPr>
            <a:spLocks noGrp="1"/>
          </p:cNvSpPr>
          <p:nvPr>
            <p:ph type="title"/>
          </p:nvPr>
        </p:nvSpPr>
        <p:spPr>
          <a:xfrm>
            <a:off x="1203654" y="233964"/>
            <a:ext cx="10351752" cy="3541331"/>
          </a:xfrm>
          <a:custGeom>
            <a:avLst/>
            <a:gdLst>
              <a:gd name="connsiteX0" fmla="*/ 0 w 10351752"/>
              <a:gd name="connsiteY0" fmla="*/ 0 h 3541331"/>
              <a:gd name="connsiteX1" fmla="*/ 782132 w 10351752"/>
              <a:gd name="connsiteY1" fmla="*/ 0 h 3541331"/>
              <a:gd name="connsiteX2" fmla="*/ 1357230 w 10351752"/>
              <a:gd name="connsiteY2" fmla="*/ 0 h 3541331"/>
              <a:gd name="connsiteX3" fmla="*/ 2139362 w 10351752"/>
              <a:gd name="connsiteY3" fmla="*/ 0 h 3541331"/>
              <a:gd name="connsiteX4" fmla="*/ 2507424 w 10351752"/>
              <a:gd name="connsiteY4" fmla="*/ 0 h 3541331"/>
              <a:gd name="connsiteX5" fmla="*/ 3186039 w 10351752"/>
              <a:gd name="connsiteY5" fmla="*/ 0 h 3541331"/>
              <a:gd name="connsiteX6" fmla="*/ 3657619 w 10351752"/>
              <a:gd name="connsiteY6" fmla="*/ 0 h 3541331"/>
              <a:gd name="connsiteX7" fmla="*/ 4232716 w 10351752"/>
              <a:gd name="connsiteY7" fmla="*/ 0 h 3541331"/>
              <a:gd name="connsiteX8" fmla="*/ 4911331 w 10351752"/>
              <a:gd name="connsiteY8" fmla="*/ 0 h 3541331"/>
              <a:gd name="connsiteX9" fmla="*/ 5382911 w 10351752"/>
              <a:gd name="connsiteY9" fmla="*/ 0 h 3541331"/>
              <a:gd name="connsiteX10" fmla="*/ 5647456 w 10351752"/>
              <a:gd name="connsiteY10" fmla="*/ 0 h 3541331"/>
              <a:gd name="connsiteX11" fmla="*/ 6015518 w 10351752"/>
              <a:gd name="connsiteY11" fmla="*/ 0 h 3541331"/>
              <a:gd name="connsiteX12" fmla="*/ 6383580 w 10351752"/>
              <a:gd name="connsiteY12" fmla="*/ 0 h 3541331"/>
              <a:gd name="connsiteX13" fmla="*/ 7062195 w 10351752"/>
              <a:gd name="connsiteY13" fmla="*/ 0 h 3541331"/>
              <a:gd name="connsiteX14" fmla="*/ 7740810 w 10351752"/>
              <a:gd name="connsiteY14" fmla="*/ 0 h 3541331"/>
              <a:gd name="connsiteX15" fmla="*/ 8005355 w 10351752"/>
              <a:gd name="connsiteY15" fmla="*/ 0 h 3541331"/>
              <a:gd name="connsiteX16" fmla="*/ 8580452 w 10351752"/>
              <a:gd name="connsiteY16" fmla="*/ 0 h 3541331"/>
              <a:gd name="connsiteX17" fmla="*/ 9362585 w 10351752"/>
              <a:gd name="connsiteY17" fmla="*/ 0 h 3541331"/>
              <a:gd name="connsiteX18" fmla="*/ 9627129 w 10351752"/>
              <a:gd name="connsiteY18" fmla="*/ 0 h 3541331"/>
              <a:gd name="connsiteX19" fmla="*/ 10351752 w 10351752"/>
              <a:gd name="connsiteY19" fmla="*/ 0 h 3541331"/>
              <a:gd name="connsiteX20" fmla="*/ 10351752 w 10351752"/>
              <a:gd name="connsiteY20" fmla="*/ 554809 h 3541331"/>
              <a:gd name="connsiteX21" fmla="*/ 10351752 w 10351752"/>
              <a:gd name="connsiteY21" fmla="*/ 1145030 h 3541331"/>
              <a:gd name="connsiteX22" fmla="*/ 10351752 w 10351752"/>
              <a:gd name="connsiteY22" fmla="*/ 1699839 h 3541331"/>
              <a:gd name="connsiteX23" fmla="*/ 10351752 w 10351752"/>
              <a:gd name="connsiteY23" fmla="*/ 2290061 h 3541331"/>
              <a:gd name="connsiteX24" fmla="*/ 10351752 w 10351752"/>
              <a:gd name="connsiteY24" fmla="*/ 2915696 h 3541331"/>
              <a:gd name="connsiteX25" fmla="*/ 10351752 w 10351752"/>
              <a:gd name="connsiteY25" fmla="*/ 3541331 h 3541331"/>
              <a:gd name="connsiteX26" fmla="*/ 9673137 w 10351752"/>
              <a:gd name="connsiteY26" fmla="*/ 3541331 h 3541331"/>
              <a:gd name="connsiteX27" fmla="*/ 8994522 w 10351752"/>
              <a:gd name="connsiteY27" fmla="*/ 3541331 h 3541331"/>
              <a:gd name="connsiteX28" fmla="*/ 8212390 w 10351752"/>
              <a:gd name="connsiteY28" fmla="*/ 3541331 h 3541331"/>
              <a:gd name="connsiteX29" fmla="*/ 7740810 w 10351752"/>
              <a:gd name="connsiteY29" fmla="*/ 3541331 h 3541331"/>
              <a:gd name="connsiteX30" fmla="*/ 7476265 w 10351752"/>
              <a:gd name="connsiteY30" fmla="*/ 3541331 h 3541331"/>
              <a:gd name="connsiteX31" fmla="*/ 6694133 w 10351752"/>
              <a:gd name="connsiteY31" fmla="*/ 3541331 h 3541331"/>
              <a:gd name="connsiteX32" fmla="*/ 6326071 w 10351752"/>
              <a:gd name="connsiteY32" fmla="*/ 3541331 h 3541331"/>
              <a:gd name="connsiteX33" fmla="*/ 5543938 w 10351752"/>
              <a:gd name="connsiteY33" fmla="*/ 3541331 h 3541331"/>
              <a:gd name="connsiteX34" fmla="*/ 4968841 w 10351752"/>
              <a:gd name="connsiteY34" fmla="*/ 3541331 h 3541331"/>
              <a:gd name="connsiteX35" fmla="*/ 4600779 w 10351752"/>
              <a:gd name="connsiteY35" fmla="*/ 3541331 h 3541331"/>
              <a:gd name="connsiteX36" fmla="*/ 4336234 w 10351752"/>
              <a:gd name="connsiteY36" fmla="*/ 3541331 h 3541331"/>
              <a:gd name="connsiteX37" fmla="*/ 3864654 w 10351752"/>
              <a:gd name="connsiteY37" fmla="*/ 3541331 h 3541331"/>
              <a:gd name="connsiteX38" fmla="*/ 3082522 w 10351752"/>
              <a:gd name="connsiteY38" fmla="*/ 3541331 h 3541331"/>
              <a:gd name="connsiteX39" fmla="*/ 2507424 w 10351752"/>
              <a:gd name="connsiteY39" fmla="*/ 3541331 h 3541331"/>
              <a:gd name="connsiteX40" fmla="*/ 1828810 w 10351752"/>
              <a:gd name="connsiteY40" fmla="*/ 3541331 h 3541331"/>
              <a:gd name="connsiteX41" fmla="*/ 1046677 w 10351752"/>
              <a:gd name="connsiteY41" fmla="*/ 3541331 h 3541331"/>
              <a:gd name="connsiteX42" fmla="*/ 0 w 10351752"/>
              <a:gd name="connsiteY42" fmla="*/ 3541331 h 3541331"/>
              <a:gd name="connsiteX43" fmla="*/ 0 w 10351752"/>
              <a:gd name="connsiteY43" fmla="*/ 3021936 h 3541331"/>
              <a:gd name="connsiteX44" fmla="*/ 0 w 10351752"/>
              <a:gd name="connsiteY44" fmla="*/ 2502541 h 3541331"/>
              <a:gd name="connsiteX45" fmla="*/ 0 w 10351752"/>
              <a:gd name="connsiteY45" fmla="*/ 1912319 h 3541331"/>
              <a:gd name="connsiteX46" fmla="*/ 0 w 10351752"/>
              <a:gd name="connsiteY46" fmla="*/ 1322097 h 3541331"/>
              <a:gd name="connsiteX47" fmla="*/ 0 w 10351752"/>
              <a:gd name="connsiteY47" fmla="*/ 696462 h 3541331"/>
              <a:gd name="connsiteX48" fmla="*/ 0 w 10351752"/>
              <a:gd name="connsiteY48" fmla="*/ 0 h 354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351752" h="3541331" fill="none" extrusionOk="0">
                <a:moveTo>
                  <a:pt x="0" y="0"/>
                </a:moveTo>
                <a:cubicBezTo>
                  <a:pt x="218498" y="-61059"/>
                  <a:pt x="605701" y="6816"/>
                  <a:pt x="782132" y="0"/>
                </a:cubicBezTo>
                <a:cubicBezTo>
                  <a:pt x="958563" y="-6816"/>
                  <a:pt x="1224512" y="51286"/>
                  <a:pt x="1357230" y="0"/>
                </a:cubicBezTo>
                <a:cubicBezTo>
                  <a:pt x="1489948" y="-51286"/>
                  <a:pt x="1790651" y="65870"/>
                  <a:pt x="2139362" y="0"/>
                </a:cubicBezTo>
                <a:cubicBezTo>
                  <a:pt x="2488073" y="-65870"/>
                  <a:pt x="2429310" y="31266"/>
                  <a:pt x="2507424" y="0"/>
                </a:cubicBezTo>
                <a:cubicBezTo>
                  <a:pt x="2585538" y="-31266"/>
                  <a:pt x="2993512" y="32163"/>
                  <a:pt x="3186039" y="0"/>
                </a:cubicBezTo>
                <a:cubicBezTo>
                  <a:pt x="3378567" y="-32163"/>
                  <a:pt x="3458777" y="44430"/>
                  <a:pt x="3657619" y="0"/>
                </a:cubicBezTo>
                <a:cubicBezTo>
                  <a:pt x="3856461" y="-44430"/>
                  <a:pt x="4019255" y="50940"/>
                  <a:pt x="4232716" y="0"/>
                </a:cubicBezTo>
                <a:cubicBezTo>
                  <a:pt x="4446177" y="-50940"/>
                  <a:pt x="4619125" y="1376"/>
                  <a:pt x="4911331" y="0"/>
                </a:cubicBezTo>
                <a:cubicBezTo>
                  <a:pt x="5203538" y="-1376"/>
                  <a:pt x="5189044" y="44745"/>
                  <a:pt x="5382911" y="0"/>
                </a:cubicBezTo>
                <a:cubicBezTo>
                  <a:pt x="5576778" y="-44745"/>
                  <a:pt x="5577923" y="29051"/>
                  <a:pt x="5647456" y="0"/>
                </a:cubicBezTo>
                <a:cubicBezTo>
                  <a:pt x="5716990" y="-29051"/>
                  <a:pt x="5858032" y="20111"/>
                  <a:pt x="6015518" y="0"/>
                </a:cubicBezTo>
                <a:cubicBezTo>
                  <a:pt x="6173004" y="-20111"/>
                  <a:pt x="6285220" y="43445"/>
                  <a:pt x="6383580" y="0"/>
                </a:cubicBezTo>
                <a:cubicBezTo>
                  <a:pt x="6481940" y="-43445"/>
                  <a:pt x="6865442" y="5751"/>
                  <a:pt x="7062195" y="0"/>
                </a:cubicBezTo>
                <a:cubicBezTo>
                  <a:pt x="7258949" y="-5751"/>
                  <a:pt x="7535416" y="8248"/>
                  <a:pt x="7740810" y="0"/>
                </a:cubicBezTo>
                <a:cubicBezTo>
                  <a:pt x="7946205" y="-8248"/>
                  <a:pt x="7916399" y="13214"/>
                  <a:pt x="8005355" y="0"/>
                </a:cubicBezTo>
                <a:cubicBezTo>
                  <a:pt x="8094312" y="-13214"/>
                  <a:pt x="8326982" y="5683"/>
                  <a:pt x="8580452" y="0"/>
                </a:cubicBezTo>
                <a:cubicBezTo>
                  <a:pt x="8833922" y="-5683"/>
                  <a:pt x="9118785" y="91044"/>
                  <a:pt x="9362585" y="0"/>
                </a:cubicBezTo>
                <a:cubicBezTo>
                  <a:pt x="9606385" y="-91044"/>
                  <a:pt x="9532744" y="5871"/>
                  <a:pt x="9627129" y="0"/>
                </a:cubicBezTo>
                <a:cubicBezTo>
                  <a:pt x="9721514" y="-5871"/>
                  <a:pt x="10149595" y="23039"/>
                  <a:pt x="10351752" y="0"/>
                </a:cubicBezTo>
                <a:cubicBezTo>
                  <a:pt x="10395887" y="276093"/>
                  <a:pt x="10338951" y="345294"/>
                  <a:pt x="10351752" y="554809"/>
                </a:cubicBezTo>
                <a:cubicBezTo>
                  <a:pt x="10364553" y="764324"/>
                  <a:pt x="10283474" y="963274"/>
                  <a:pt x="10351752" y="1145030"/>
                </a:cubicBezTo>
                <a:cubicBezTo>
                  <a:pt x="10420030" y="1326786"/>
                  <a:pt x="10338069" y="1425259"/>
                  <a:pt x="10351752" y="1699839"/>
                </a:cubicBezTo>
                <a:cubicBezTo>
                  <a:pt x="10365435" y="1974419"/>
                  <a:pt x="10292037" y="2080931"/>
                  <a:pt x="10351752" y="2290061"/>
                </a:cubicBezTo>
                <a:cubicBezTo>
                  <a:pt x="10411467" y="2499191"/>
                  <a:pt x="10325508" y="2605820"/>
                  <a:pt x="10351752" y="2915696"/>
                </a:cubicBezTo>
                <a:cubicBezTo>
                  <a:pt x="10377996" y="3225573"/>
                  <a:pt x="10313628" y="3263927"/>
                  <a:pt x="10351752" y="3541331"/>
                </a:cubicBezTo>
                <a:cubicBezTo>
                  <a:pt x="10134929" y="3606127"/>
                  <a:pt x="9914547" y="3493515"/>
                  <a:pt x="9673137" y="3541331"/>
                </a:cubicBezTo>
                <a:cubicBezTo>
                  <a:pt x="9431727" y="3589147"/>
                  <a:pt x="9188825" y="3486666"/>
                  <a:pt x="8994522" y="3541331"/>
                </a:cubicBezTo>
                <a:cubicBezTo>
                  <a:pt x="8800220" y="3595996"/>
                  <a:pt x="8464254" y="3483262"/>
                  <a:pt x="8212390" y="3541331"/>
                </a:cubicBezTo>
                <a:cubicBezTo>
                  <a:pt x="7960526" y="3599400"/>
                  <a:pt x="7870012" y="3503363"/>
                  <a:pt x="7740810" y="3541331"/>
                </a:cubicBezTo>
                <a:cubicBezTo>
                  <a:pt x="7611608" y="3579299"/>
                  <a:pt x="7599476" y="3509984"/>
                  <a:pt x="7476265" y="3541331"/>
                </a:cubicBezTo>
                <a:cubicBezTo>
                  <a:pt x="7353054" y="3572678"/>
                  <a:pt x="7005768" y="3490592"/>
                  <a:pt x="6694133" y="3541331"/>
                </a:cubicBezTo>
                <a:cubicBezTo>
                  <a:pt x="6382498" y="3592070"/>
                  <a:pt x="6475003" y="3508362"/>
                  <a:pt x="6326071" y="3541331"/>
                </a:cubicBezTo>
                <a:cubicBezTo>
                  <a:pt x="6177139" y="3574300"/>
                  <a:pt x="5781683" y="3500884"/>
                  <a:pt x="5543938" y="3541331"/>
                </a:cubicBezTo>
                <a:cubicBezTo>
                  <a:pt x="5306193" y="3581778"/>
                  <a:pt x="5093275" y="3513242"/>
                  <a:pt x="4968841" y="3541331"/>
                </a:cubicBezTo>
                <a:cubicBezTo>
                  <a:pt x="4844407" y="3569420"/>
                  <a:pt x="4725087" y="3527042"/>
                  <a:pt x="4600779" y="3541331"/>
                </a:cubicBezTo>
                <a:cubicBezTo>
                  <a:pt x="4476471" y="3555620"/>
                  <a:pt x="4430537" y="3535961"/>
                  <a:pt x="4336234" y="3541331"/>
                </a:cubicBezTo>
                <a:cubicBezTo>
                  <a:pt x="4241932" y="3546701"/>
                  <a:pt x="4072699" y="3520568"/>
                  <a:pt x="3864654" y="3541331"/>
                </a:cubicBezTo>
                <a:cubicBezTo>
                  <a:pt x="3656609" y="3562094"/>
                  <a:pt x="3285553" y="3490631"/>
                  <a:pt x="3082522" y="3541331"/>
                </a:cubicBezTo>
                <a:cubicBezTo>
                  <a:pt x="2879491" y="3592031"/>
                  <a:pt x="2721160" y="3499940"/>
                  <a:pt x="2507424" y="3541331"/>
                </a:cubicBezTo>
                <a:cubicBezTo>
                  <a:pt x="2293688" y="3582722"/>
                  <a:pt x="2083796" y="3538375"/>
                  <a:pt x="1828810" y="3541331"/>
                </a:cubicBezTo>
                <a:cubicBezTo>
                  <a:pt x="1573824" y="3544287"/>
                  <a:pt x="1397372" y="3475892"/>
                  <a:pt x="1046677" y="3541331"/>
                </a:cubicBezTo>
                <a:cubicBezTo>
                  <a:pt x="695982" y="3606770"/>
                  <a:pt x="258796" y="3459980"/>
                  <a:pt x="0" y="3541331"/>
                </a:cubicBezTo>
                <a:cubicBezTo>
                  <a:pt x="-27354" y="3327803"/>
                  <a:pt x="4989" y="3229788"/>
                  <a:pt x="0" y="3021936"/>
                </a:cubicBezTo>
                <a:cubicBezTo>
                  <a:pt x="-4989" y="2814084"/>
                  <a:pt x="38987" y="2758416"/>
                  <a:pt x="0" y="2502541"/>
                </a:cubicBezTo>
                <a:cubicBezTo>
                  <a:pt x="-38987" y="2246667"/>
                  <a:pt x="36652" y="2053384"/>
                  <a:pt x="0" y="1912319"/>
                </a:cubicBezTo>
                <a:cubicBezTo>
                  <a:pt x="-36652" y="1771254"/>
                  <a:pt x="7751" y="1467983"/>
                  <a:pt x="0" y="1322097"/>
                </a:cubicBezTo>
                <a:cubicBezTo>
                  <a:pt x="-7751" y="1176211"/>
                  <a:pt x="22006" y="888730"/>
                  <a:pt x="0" y="696462"/>
                </a:cubicBezTo>
                <a:cubicBezTo>
                  <a:pt x="-22006" y="504195"/>
                  <a:pt x="8071" y="298842"/>
                  <a:pt x="0" y="0"/>
                </a:cubicBezTo>
                <a:close/>
              </a:path>
              <a:path w="10351752" h="3541331" stroke="0" extrusionOk="0">
                <a:moveTo>
                  <a:pt x="0" y="0"/>
                </a:moveTo>
                <a:cubicBezTo>
                  <a:pt x="60768" y="-8807"/>
                  <a:pt x="187033" y="29589"/>
                  <a:pt x="264545" y="0"/>
                </a:cubicBezTo>
                <a:cubicBezTo>
                  <a:pt x="342058" y="-29589"/>
                  <a:pt x="676967" y="64350"/>
                  <a:pt x="943160" y="0"/>
                </a:cubicBezTo>
                <a:cubicBezTo>
                  <a:pt x="1209353" y="-64350"/>
                  <a:pt x="1425684" y="10188"/>
                  <a:pt x="1621774" y="0"/>
                </a:cubicBezTo>
                <a:cubicBezTo>
                  <a:pt x="1817864" y="-10188"/>
                  <a:pt x="1782836" y="27685"/>
                  <a:pt x="1886319" y="0"/>
                </a:cubicBezTo>
                <a:cubicBezTo>
                  <a:pt x="1989802" y="-27685"/>
                  <a:pt x="2170018" y="32354"/>
                  <a:pt x="2254382" y="0"/>
                </a:cubicBezTo>
                <a:cubicBezTo>
                  <a:pt x="2338746" y="-32354"/>
                  <a:pt x="2594369" y="53122"/>
                  <a:pt x="2725961" y="0"/>
                </a:cubicBezTo>
                <a:cubicBezTo>
                  <a:pt x="2857553" y="-53122"/>
                  <a:pt x="3034657" y="8694"/>
                  <a:pt x="3197541" y="0"/>
                </a:cubicBezTo>
                <a:cubicBezTo>
                  <a:pt x="3360425" y="-8694"/>
                  <a:pt x="3621748" y="25120"/>
                  <a:pt x="3772639" y="0"/>
                </a:cubicBezTo>
                <a:cubicBezTo>
                  <a:pt x="3923530" y="-25120"/>
                  <a:pt x="4000127" y="9877"/>
                  <a:pt x="4140701" y="0"/>
                </a:cubicBezTo>
                <a:cubicBezTo>
                  <a:pt x="4281275" y="-9877"/>
                  <a:pt x="4432200" y="1024"/>
                  <a:pt x="4612281" y="0"/>
                </a:cubicBezTo>
                <a:cubicBezTo>
                  <a:pt x="4792362" y="-1024"/>
                  <a:pt x="5162221" y="45640"/>
                  <a:pt x="5394413" y="0"/>
                </a:cubicBezTo>
                <a:cubicBezTo>
                  <a:pt x="5626605" y="-45640"/>
                  <a:pt x="5654031" y="12745"/>
                  <a:pt x="5762475" y="0"/>
                </a:cubicBezTo>
                <a:cubicBezTo>
                  <a:pt x="5870919" y="-12745"/>
                  <a:pt x="6058359" y="51620"/>
                  <a:pt x="6234055" y="0"/>
                </a:cubicBezTo>
                <a:cubicBezTo>
                  <a:pt x="6409751" y="-51620"/>
                  <a:pt x="6729465" y="83567"/>
                  <a:pt x="7016187" y="0"/>
                </a:cubicBezTo>
                <a:cubicBezTo>
                  <a:pt x="7302909" y="-83567"/>
                  <a:pt x="7603452" y="90734"/>
                  <a:pt x="7798320" y="0"/>
                </a:cubicBezTo>
                <a:cubicBezTo>
                  <a:pt x="7993188" y="-90734"/>
                  <a:pt x="8166018" y="1526"/>
                  <a:pt x="8476935" y="0"/>
                </a:cubicBezTo>
                <a:cubicBezTo>
                  <a:pt x="8787853" y="-1526"/>
                  <a:pt x="8680309" y="21281"/>
                  <a:pt x="8741479" y="0"/>
                </a:cubicBezTo>
                <a:cubicBezTo>
                  <a:pt x="8802649" y="-21281"/>
                  <a:pt x="9027290" y="24151"/>
                  <a:pt x="9109542" y="0"/>
                </a:cubicBezTo>
                <a:cubicBezTo>
                  <a:pt x="9191794" y="-24151"/>
                  <a:pt x="9890404" y="95949"/>
                  <a:pt x="10351752" y="0"/>
                </a:cubicBezTo>
                <a:cubicBezTo>
                  <a:pt x="10417387" y="132298"/>
                  <a:pt x="10307446" y="378462"/>
                  <a:pt x="10351752" y="590222"/>
                </a:cubicBezTo>
                <a:cubicBezTo>
                  <a:pt x="10396058" y="801982"/>
                  <a:pt x="10344341" y="1000577"/>
                  <a:pt x="10351752" y="1215857"/>
                </a:cubicBezTo>
                <a:cubicBezTo>
                  <a:pt x="10359163" y="1431138"/>
                  <a:pt x="10324821" y="1645617"/>
                  <a:pt x="10351752" y="1806079"/>
                </a:cubicBezTo>
                <a:cubicBezTo>
                  <a:pt x="10378683" y="1966541"/>
                  <a:pt x="10315930" y="2283524"/>
                  <a:pt x="10351752" y="2467127"/>
                </a:cubicBezTo>
                <a:cubicBezTo>
                  <a:pt x="10387574" y="2650730"/>
                  <a:pt x="10266883" y="3220815"/>
                  <a:pt x="10351752" y="3541331"/>
                </a:cubicBezTo>
                <a:cubicBezTo>
                  <a:pt x="10118937" y="3600270"/>
                  <a:pt x="9896286" y="3530344"/>
                  <a:pt x="9776655" y="3541331"/>
                </a:cubicBezTo>
                <a:cubicBezTo>
                  <a:pt x="9657024" y="3552318"/>
                  <a:pt x="9499063" y="3537236"/>
                  <a:pt x="9408592" y="3541331"/>
                </a:cubicBezTo>
                <a:cubicBezTo>
                  <a:pt x="9318121" y="3545426"/>
                  <a:pt x="9163779" y="3532523"/>
                  <a:pt x="8937013" y="3541331"/>
                </a:cubicBezTo>
                <a:cubicBezTo>
                  <a:pt x="8710247" y="3550139"/>
                  <a:pt x="8628553" y="3533338"/>
                  <a:pt x="8465433" y="3541331"/>
                </a:cubicBezTo>
                <a:cubicBezTo>
                  <a:pt x="8302313" y="3549324"/>
                  <a:pt x="8096599" y="3527851"/>
                  <a:pt x="7993853" y="3541331"/>
                </a:cubicBezTo>
                <a:cubicBezTo>
                  <a:pt x="7891107" y="3554811"/>
                  <a:pt x="7555813" y="3532783"/>
                  <a:pt x="7315238" y="3541331"/>
                </a:cubicBezTo>
                <a:cubicBezTo>
                  <a:pt x="7074664" y="3549879"/>
                  <a:pt x="6860892" y="3519919"/>
                  <a:pt x="6533106" y="3541331"/>
                </a:cubicBezTo>
                <a:cubicBezTo>
                  <a:pt x="6205320" y="3562743"/>
                  <a:pt x="6353202" y="3511055"/>
                  <a:pt x="6268561" y="3541331"/>
                </a:cubicBezTo>
                <a:cubicBezTo>
                  <a:pt x="6183921" y="3571607"/>
                  <a:pt x="6075459" y="3523760"/>
                  <a:pt x="6004016" y="3541331"/>
                </a:cubicBezTo>
                <a:cubicBezTo>
                  <a:pt x="5932574" y="3558902"/>
                  <a:pt x="5751499" y="3520786"/>
                  <a:pt x="5635954" y="3541331"/>
                </a:cubicBezTo>
                <a:cubicBezTo>
                  <a:pt x="5520409" y="3561876"/>
                  <a:pt x="5392360" y="3504735"/>
                  <a:pt x="5267892" y="3541331"/>
                </a:cubicBezTo>
                <a:cubicBezTo>
                  <a:pt x="5143424" y="3577927"/>
                  <a:pt x="4991827" y="3510612"/>
                  <a:pt x="4899829" y="3541331"/>
                </a:cubicBezTo>
                <a:cubicBezTo>
                  <a:pt x="4807831" y="3572050"/>
                  <a:pt x="4697715" y="3531290"/>
                  <a:pt x="4635285" y="3541331"/>
                </a:cubicBezTo>
                <a:cubicBezTo>
                  <a:pt x="4572855" y="3551372"/>
                  <a:pt x="4376388" y="3512903"/>
                  <a:pt x="4267222" y="3541331"/>
                </a:cubicBezTo>
                <a:cubicBezTo>
                  <a:pt x="4158056" y="3569759"/>
                  <a:pt x="3837522" y="3535996"/>
                  <a:pt x="3692125" y="3541331"/>
                </a:cubicBezTo>
                <a:cubicBezTo>
                  <a:pt x="3546728" y="3546666"/>
                  <a:pt x="3319496" y="3483009"/>
                  <a:pt x="3117028" y="3541331"/>
                </a:cubicBezTo>
                <a:cubicBezTo>
                  <a:pt x="2914560" y="3599653"/>
                  <a:pt x="2743167" y="3524259"/>
                  <a:pt x="2645448" y="3541331"/>
                </a:cubicBezTo>
                <a:cubicBezTo>
                  <a:pt x="2547729" y="3558403"/>
                  <a:pt x="2216080" y="3519547"/>
                  <a:pt x="1966833" y="3541331"/>
                </a:cubicBezTo>
                <a:cubicBezTo>
                  <a:pt x="1717587" y="3563115"/>
                  <a:pt x="1550140" y="3508771"/>
                  <a:pt x="1391736" y="3541331"/>
                </a:cubicBezTo>
                <a:cubicBezTo>
                  <a:pt x="1233332" y="3573891"/>
                  <a:pt x="1187544" y="3534704"/>
                  <a:pt x="1127191" y="3541331"/>
                </a:cubicBezTo>
                <a:cubicBezTo>
                  <a:pt x="1066839" y="3547958"/>
                  <a:pt x="863493" y="3536999"/>
                  <a:pt x="655611" y="3541331"/>
                </a:cubicBezTo>
                <a:cubicBezTo>
                  <a:pt x="447729" y="3545663"/>
                  <a:pt x="278374" y="3505537"/>
                  <a:pt x="0" y="3541331"/>
                </a:cubicBezTo>
                <a:cubicBezTo>
                  <a:pt x="-25502" y="3277181"/>
                  <a:pt x="46573" y="3196749"/>
                  <a:pt x="0" y="2880283"/>
                </a:cubicBezTo>
                <a:cubicBezTo>
                  <a:pt x="-46573" y="2563817"/>
                  <a:pt x="17192" y="2581200"/>
                  <a:pt x="0" y="2396301"/>
                </a:cubicBezTo>
                <a:cubicBezTo>
                  <a:pt x="-17192" y="2211402"/>
                  <a:pt x="45336" y="2048046"/>
                  <a:pt x="0" y="1912319"/>
                </a:cubicBezTo>
                <a:cubicBezTo>
                  <a:pt x="-45336" y="1776592"/>
                  <a:pt x="23516" y="1546790"/>
                  <a:pt x="0" y="1286684"/>
                </a:cubicBezTo>
                <a:cubicBezTo>
                  <a:pt x="-23516" y="1026579"/>
                  <a:pt x="60297" y="880968"/>
                  <a:pt x="0" y="625635"/>
                </a:cubicBezTo>
                <a:cubicBezTo>
                  <a:pt x="-60297" y="370302"/>
                  <a:pt x="19859" y="265453"/>
                  <a:pt x="0" y="0"/>
                </a:cubicBezTo>
                <a:close/>
              </a:path>
            </a:pathLst>
          </a:custGeom>
          <a:blipFill dpi="0"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stretch>
              <a:fillRect/>
            </a:stretch>
          </a:blipFill>
          <a:ln>
            <a:solidFill>
              <a:schemeClr val="tx1"/>
            </a:solidFill>
            <a:extLst>
              <a:ext uri="{C807C97D-BFC1-408E-A445-0C87EB9F89A2}">
                <ask:lineSketchStyleProps xmlns:ask="http://schemas.microsoft.com/office/drawing/2018/sketchyshapes" sd="1305249933">
                  <ask:type>
                    <ask:lineSketchScribble/>
                  </ask:type>
                </ask:lineSketchStyleProps>
              </a:ext>
            </a:extLst>
          </a:ln>
        </p:spPr>
        <p:txBody>
          <a:bodyPr>
            <a:normAutofit/>
          </a:bodyPr>
          <a:lstStyle/>
          <a:p>
            <a:r>
              <a:rPr lang="en-US" sz="3200" dirty="0">
                <a:latin typeface="Algerian" panose="04020705040A02060702" pitchFamily="82" charset="0"/>
              </a:rPr>
              <a:t> </a:t>
            </a:r>
            <a:endParaRPr lang="en-IN" sz="3600" dirty="0">
              <a:ln>
                <a:solidFill>
                  <a:schemeClr val="tx2">
                    <a:lumMod val="75000"/>
                  </a:schemeClr>
                </a:solidFill>
              </a:ln>
              <a:solidFill>
                <a:srgbClr val="CCFF99"/>
              </a:solidFill>
              <a:effectLst>
                <a:reflection blurRad="6350" stA="60000" endA="900" endPos="60000" dist="29997" dir="5400000" sy="-100000" algn="bl" rotWithShape="0"/>
              </a:effectLst>
              <a:latin typeface="Algerian" panose="04020705040A02060702" pitchFamily="82" charset="0"/>
            </a:endParaRPr>
          </a:p>
        </p:txBody>
      </p:sp>
      <p:pic>
        <p:nvPicPr>
          <p:cNvPr id="16" name="Picture 2" descr="Amazon To Close Its Food Delivery Business In India, Which Stock Will Be In  Focus? Watch This Report | Zee Business">
            <a:extLst>
              <a:ext uri="{FF2B5EF4-FFF2-40B4-BE49-F238E27FC236}">
                <a16:creationId xmlns:a16="http://schemas.microsoft.com/office/drawing/2014/main" id="{DFCE10E4-9187-EAD2-1193-7411299AC8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9405" y="3815841"/>
            <a:ext cx="7793665" cy="282946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AC543BE6-0C51-476E-ABB4-F4A8EA77475C}"/>
              </a:ext>
            </a:extLst>
          </p:cNvPr>
          <p:cNvSpPr/>
          <p:nvPr/>
        </p:nvSpPr>
        <p:spPr>
          <a:xfrm>
            <a:off x="1881962" y="1052623"/>
            <a:ext cx="9106383" cy="2041451"/>
          </a:xfrm>
          <a:custGeom>
            <a:avLst/>
            <a:gdLst>
              <a:gd name="connsiteX0" fmla="*/ 0 w 9106383"/>
              <a:gd name="connsiteY0" fmla="*/ 340249 h 2041451"/>
              <a:gd name="connsiteX1" fmla="*/ 340249 w 9106383"/>
              <a:gd name="connsiteY1" fmla="*/ 0 h 2041451"/>
              <a:gd name="connsiteX2" fmla="*/ 1070492 w 9106383"/>
              <a:gd name="connsiteY2" fmla="*/ 0 h 2041451"/>
              <a:gd name="connsiteX3" fmla="*/ 1547959 w 9106383"/>
              <a:gd name="connsiteY3" fmla="*/ 0 h 2041451"/>
              <a:gd name="connsiteX4" fmla="*/ 1941167 w 9106383"/>
              <a:gd name="connsiteY4" fmla="*/ 0 h 2041451"/>
              <a:gd name="connsiteX5" fmla="*/ 2502893 w 9106383"/>
              <a:gd name="connsiteY5" fmla="*/ 0 h 2041451"/>
              <a:gd name="connsiteX6" fmla="*/ 2896101 w 9106383"/>
              <a:gd name="connsiteY6" fmla="*/ 0 h 2041451"/>
              <a:gd name="connsiteX7" fmla="*/ 3542085 w 9106383"/>
              <a:gd name="connsiteY7" fmla="*/ 0 h 2041451"/>
              <a:gd name="connsiteX8" fmla="*/ 3851034 w 9106383"/>
              <a:gd name="connsiteY8" fmla="*/ 0 h 2041451"/>
              <a:gd name="connsiteX9" fmla="*/ 4328501 w 9106383"/>
              <a:gd name="connsiteY9" fmla="*/ 0 h 2041451"/>
              <a:gd name="connsiteX10" fmla="*/ 5058745 w 9106383"/>
              <a:gd name="connsiteY10" fmla="*/ 0 h 2041451"/>
              <a:gd name="connsiteX11" fmla="*/ 5451953 w 9106383"/>
              <a:gd name="connsiteY11" fmla="*/ 0 h 2041451"/>
              <a:gd name="connsiteX12" fmla="*/ 5845161 w 9106383"/>
              <a:gd name="connsiteY12" fmla="*/ 0 h 2041451"/>
              <a:gd name="connsiteX13" fmla="*/ 6406886 w 9106383"/>
              <a:gd name="connsiteY13" fmla="*/ 0 h 2041451"/>
              <a:gd name="connsiteX14" fmla="*/ 7052871 w 9106383"/>
              <a:gd name="connsiteY14" fmla="*/ 0 h 2041451"/>
              <a:gd name="connsiteX15" fmla="*/ 7530338 w 9106383"/>
              <a:gd name="connsiteY15" fmla="*/ 0 h 2041451"/>
              <a:gd name="connsiteX16" fmla="*/ 8176322 w 9106383"/>
              <a:gd name="connsiteY16" fmla="*/ 0 h 2041451"/>
              <a:gd name="connsiteX17" fmla="*/ 8766134 w 9106383"/>
              <a:gd name="connsiteY17" fmla="*/ 0 h 2041451"/>
              <a:gd name="connsiteX18" fmla="*/ 9106383 w 9106383"/>
              <a:gd name="connsiteY18" fmla="*/ 340249 h 2041451"/>
              <a:gd name="connsiteX19" fmla="*/ 9106383 w 9106383"/>
              <a:gd name="connsiteY19" fmla="*/ 780290 h 2041451"/>
              <a:gd name="connsiteX20" fmla="*/ 9106383 w 9106383"/>
              <a:gd name="connsiteY20" fmla="*/ 1193113 h 2041451"/>
              <a:gd name="connsiteX21" fmla="*/ 9106383 w 9106383"/>
              <a:gd name="connsiteY21" fmla="*/ 1701202 h 2041451"/>
              <a:gd name="connsiteX22" fmla="*/ 8766134 w 9106383"/>
              <a:gd name="connsiteY22" fmla="*/ 2041451 h 2041451"/>
              <a:gd name="connsiteX23" fmla="*/ 8204408 w 9106383"/>
              <a:gd name="connsiteY23" fmla="*/ 2041451 h 2041451"/>
              <a:gd name="connsiteX24" fmla="*/ 7474165 w 9106383"/>
              <a:gd name="connsiteY24" fmla="*/ 2041451 h 2041451"/>
              <a:gd name="connsiteX25" fmla="*/ 6912439 w 9106383"/>
              <a:gd name="connsiteY25" fmla="*/ 2041451 h 2041451"/>
              <a:gd name="connsiteX26" fmla="*/ 6519231 w 9106383"/>
              <a:gd name="connsiteY26" fmla="*/ 2041451 h 2041451"/>
              <a:gd name="connsiteX27" fmla="*/ 5957506 w 9106383"/>
              <a:gd name="connsiteY27" fmla="*/ 2041451 h 2041451"/>
              <a:gd name="connsiteX28" fmla="*/ 5227262 w 9106383"/>
              <a:gd name="connsiteY28" fmla="*/ 2041451 h 2041451"/>
              <a:gd name="connsiteX29" fmla="*/ 4665537 w 9106383"/>
              <a:gd name="connsiteY29" fmla="*/ 2041451 h 2041451"/>
              <a:gd name="connsiteX30" fmla="*/ 3935293 w 9106383"/>
              <a:gd name="connsiteY30" fmla="*/ 2041451 h 2041451"/>
              <a:gd name="connsiteX31" fmla="*/ 3457826 w 9106383"/>
              <a:gd name="connsiteY31" fmla="*/ 2041451 h 2041451"/>
              <a:gd name="connsiteX32" fmla="*/ 2727583 w 9106383"/>
              <a:gd name="connsiteY32" fmla="*/ 2041451 h 2041451"/>
              <a:gd name="connsiteX33" fmla="*/ 1997340 w 9106383"/>
              <a:gd name="connsiteY33" fmla="*/ 2041451 h 2041451"/>
              <a:gd name="connsiteX34" fmla="*/ 1604132 w 9106383"/>
              <a:gd name="connsiteY34" fmla="*/ 2041451 h 2041451"/>
              <a:gd name="connsiteX35" fmla="*/ 1295183 w 9106383"/>
              <a:gd name="connsiteY35" fmla="*/ 2041451 h 2041451"/>
              <a:gd name="connsiteX36" fmla="*/ 340249 w 9106383"/>
              <a:gd name="connsiteY36" fmla="*/ 2041451 h 2041451"/>
              <a:gd name="connsiteX37" fmla="*/ 0 w 9106383"/>
              <a:gd name="connsiteY37" fmla="*/ 1701202 h 2041451"/>
              <a:gd name="connsiteX38" fmla="*/ 0 w 9106383"/>
              <a:gd name="connsiteY38" fmla="*/ 1261161 h 2041451"/>
              <a:gd name="connsiteX39" fmla="*/ 0 w 9106383"/>
              <a:gd name="connsiteY39" fmla="*/ 821119 h 2041451"/>
              <a:gd name="connsiteX40" fmla="*/ 0 w 9106383"/>
              <a:gd name="connsiteY40" fmla="*/ 340249 h 204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106383" h="2041451" fill="none" extrusionOk="0">
                <a:moveTo>
                  <a:pt x="0" y="340249"/>
                </a:moveTo>
                <a:cubicBezTo>
                  <a:pt x="-23572" y="130198"/>
                  <a:pt x="152328" y="-31635"/>
                  <a:pt x="340249" y="0"/>
                </a:cubicBezTo>
                <a:cubicBezTo>
                  <a:pt x="574985" y="-25201"/>
                  <a:pt x="899181" y="48499"/>
                  <a:pt x="1070492" y="0"/>
                </a:cubicBezTo>
                <a:cubicBezTo>
                  <a:pt x="1241803" y="-48499"/>
                  <a:pt x="1408189" y="47482"/>
                  <a:pt x="1547959" y="0"/>
                </a:cubicBezTo>
                <a:cubicBezTo>
                  <a:pt x="1687729" y="-47482"/>
                  <a:pt x="1788593" y="2773"/>
                  <a:pt x="1941167" y="0"/>
                </a:cubicBezTo>
                <a:cubicBezTo>
                  <a:pt x="2093741" y="-2773"/>
                  <a:pt x="2293955" y="65965"/>
                  <a:pt x="2502893" y="0"/>
                </a:cubicBezTo>
                <a:cubicBezTo>
                  <a:pt x="2711831" y="-65965"/>
                  <a:pt x="2779837" y="7747"/>
                  <a:pt x="2896101" y="0"/>
                </a:cubicBezTo>
                <a:cubicBezTo>
                  <a:pt x="3012365" y="-7747"/>
                  <a:pt x="3315186" y="26312"/>
                  <a:pt x="3542085" y="0"/>
                </a:cubicBezTo>
                <a:cubicBezTo>
                  <a:pt x="3768984" y="-26312"/>
                  <a:pt x="3779347" y="553"/>
                  <a:pt x="3851034" y="0"/>
                </a:cubicBezTo>
                <a:cubicBezTo>
                  <a:pt x="3922721" y="-553"/>
                  <a:pt x="4192654" y="7908"/>
                  <a:pt x="4328501" y="0"/>
                </a:cubicBezTo>
                <a:cubicBezTo>
                  <a:pt x="4464348" y="-7908"/>
                  <a:pt x="4754675" y="11280"/>
                  <a:pt x="5058745" y="0"/>
                </a:cubicBezTo>
                <a:cubicBezTo>
                  <a:pt x="5362815" y="-11280"/>
                  <a:pt x="5351353" y="10238"/>
                  <a:pt x="5451953" y="0"/>
                </a:cubicBezTo>
                <a:cubicBezTo>
                  <a:pt x="5552553" y="-10238"/>
                  <a:pt x="5714296" y="36990"/>
                  <a:pt x="5845161" y="0"/>
                </a:cubicBezTo>
                <a:cubicBezTo>
                  <a:pt x="5976026" y="-36990"/>
                  <a:pt x="6183392" y="59361"/>
                  <a:pt x="6406886" y="0"/>
                </a:cubicBezTo>
                <a:cubicBezTo>
                  <a:pt x="6630380" y="-59361"/>
                  <a:pt x="6887911" y="46918"/>
                  <a:pt x="7052871" y="0"/>
                </a:cubicBezTo>
                <a:cubicBezTo>
                  <a:pt x="7217831" y="-46918"/>
                  <a:pt x="7346820" y="4404"/>
                  <a:pt x="7530338" y="0"/>
                </a:cubicBezTo>
                <a:cubicBezTo>
                  <a:pt x="7713856" y="-4404"/>
                  <a:pt x="7863700" y="35064"/>
                  <a:pt x="8176322" y="0"/>
                </a:cubicBezTo>
                <a:cubicBezTo>
                  <a:pt x="8488944" y="-35064"/>
                  <a:pt x="8566485" y="39598"/>
                  <a:pt x="8766134" y="0"/>
                </a:cubicBezTo>
                <a:cubicBezTo>
                  <a:pt x="8934010" y="14680"/>
                  <a:pt x="9089827" y="143179"/>
                  <a:pt x="9106383" y="340249"/>
                </a:cubicBezTo>
                <a:cubicBezTo>
                  <a:pt x="9118321" y="532687"/>
                  <a:pt x="9104593" y="691645"/>
                  <a:pt x="9106383" y="780290"/>
                </a:cubicBezTo>
                <a:cubicBezTo>
                  <a:pt x="9108173" y="868935"/>
                  <a:pt x="9058460" y="1023889"/>
                  <a:pt x="9106383" y="1193113"/>
                </a:cubicBezTo>
                <a:cubicBezTo>
                  <a:pt x="9154306" y="1362337"/>
                  <a:pt x="9077662" y="1479046"/>
                  <a:pt x="9106383" y="1701202"/>
                </a:cubicBezTo>
                <a:cubicBezTo>
                  <a:pt x="9105566" y="1918380"/>
                  <a:pt x="9000030" y="2056245"/>
                  <a:pt x="8766134" y="2041451"/>
                </a:cubicBezTo>
                <a:cubicBezTo>
                  <a:pt x="8602432" y="2072727"/>
                  <a:pt x="8428272" y="1996061"/>
                  <a:pt x="8204408" y="2041451"/>
                </a:cubicBezTo>
                <a:cubicBezTo>
                  <a:pt x="7980544" y="2086841"/>
                  <a:pt x="7734939" y="1990156"/>
                  <a:pt x="7474165" y="2041451"/>
                </a:cubicBezTo>
                <a:cubicBezTo>
                  <a:pt x="7213391" y="2092746"/>
                  <a:pt x="7158897" y="1986057"/>
                  <a:pt x="6912439" y="2041451"/>
                </a:cubicBezTo>
                <a:cubicBezTo>
                  <a:pt x="6665981" y="2096845"/>
                  <a:pt x="6646960" y="1995574"/>
                  <a:pt x="6519231" y="2041451"/>
                </a:cubicBezTo>
                <a:cubicBezTo>
                  <a:pt x="6391502" y="2087328"/>
                  <a:pt x="6135250" y="1977186"/>
                  <a:pt x="5957506" y="2041451"/>
                </a:cubicBezTo>
                <a:cubicBezTo>
                  <a:pt x="5779763" y="2105716"/>
                  <a:pt x="5548661" y="1955030"/>
                  <a:pt x="5227262" y="2041451"/>
                </a:cubicBezTo>
                <a:cubicBezTo>
                  <a:pt x="4905863" y="2127872"/>
                  <a:pt x="4810745" y="2033316"/>
                  <a:pt x="4665537" y="2041451"/>
                </a:cubicBezTo>
                <a:cubicBezTo>
                  <a:pt x="4520330" y="2049586"/>
                  <a:pt x="4158892" y="1967121"/>
                  <a:pt x="3935293" y="2041451"/>
                </a:cubicBezTo>
                <a:cubicBezTo>
                  <a:pt x="3711694" y="2115781"/>
                  <a:pt x="3559628" y="2019965"/>
                  <a:pt x="3457826" y="2041451"/>
                </a:cubicBezTo>
                <a:cubicBezTo>
                  <a:pt x="3356024" y="2062937"/>
                  <a:pt x="3036803" y="1992588"/>
                  <a:pt x="2727583" y="2041451"/>
                </a:cubicBezTo>
                <a:cubicBezTo>
                  <a:pt x="2418363" y="2090314"/>
                  <a:pt x="2348480" y="1994269"/>
                  <a:pt x="1997340" y="2041451"/>
                </a:cubicBezTo>
                <a:cubicBezTo>
                  <a:pt x="1646200" y="2088633"/>
                  <a:pt x="1716471" y="2019372"/>
                  <a:pt x="1604132" y="2041451"/>
                </a:cubicBezTo>
                <a:cubicBezTo>
                  <a:pt x="1491793" y="2063530"/>
                  <a:pt x="1448024" y="2032528"/>
                  <a:pt x="1295183" y="2041451"/>
                </a:cubicBezTo>
                <a:cubicBezTo>
                  <a:pt x="1142342" y="2050374"/>
                  <a:pt x="678274" y="2011358"/>
                  <a:pt x="340249" y="2041451"/>
                </a:cubicBezTo>
                <a:cubicBezTo>
                  <a:pt x="101757" y="2041118"/>
                  <a:pt x="-32401" y="1877777"/>
                  <a:pt x="0" y="1701202"/>
                </a:cubicBezTo>
                <a:cubicBezTo>
                  <a:pt x="-40446" y="1558735"/>
                  <a:pt x="39323" y="1468206"/>
                  <a:pt x="0" y="1261161"/>
                </a:cubicBezTo>
                <a:cubicBezTo>
                  <a:pt x="-39323" y="1054116"/>
                  <a:pt x="39712" y="930212"/>
                  <a:pt x="0" y="821119"/>
                </a:cubicBezTo>
                <a:cubicBezTo>
                  <a:pt x="-39712" y="712026"/>
                  <a:pt x="21910" y="559364"/>
                  <a:pt x="0" y="340249"/>
                </a:cubicBezTo>
                <a:close/>
              </a:path>
              <a:path w="9106383" h="2041451" stroke="0" extrusionOk="0">
                <a:moveTo>
                  <a:pt x="0" y="340249"/>
                </a:moveTo>
                <a:cubicBezTo>
                  <a:pt x="-22937" y="159357"/>
                  <a:pt x="109288" y="34604"/>
                  <a:pt x="340249" y="0"/>
                </a:cubicBezTo>
                <a:cubicBezTo>
                  <a:pt x="449701" y="-16664"/>
                  <a:pt x="535096" y="6496"/>
                  <a:pt x="649198" y="0"/>
                </a:cubicBezTo>
                <a:cubicBezTo>
                  <a:pt x="763300" y="-6496"/>
                  <a:pt x="985262" y="5897"/>
                  <a:pt x="1210924" y="0"/>
                </a:cubicBezTo>
                <a:cubicBezTo>
                  <a:pt x="1436586" y="-5897"/>
                  <a:pt x="1520268" y="24733"/>
                  <a:pt x="1604132" y="0"/>
                </a:cubicBezTo>
                <a:cubicBezTo>
                  <a:pt x="1687996" y="-24733"/>
                  <a:pt x="2139031" y="78601"/>
                  <a:pt x="2334375" y="0"/>
                </a:cubicBezTo>
                <a:cubicBezTo>
                  <a:pt x="2529719" y="-78601"/>
                  <a:pt x="2592709" y="55415"/>
                  <a:pt x="2811842" y="0"/>
                </a:cubicBezTo>
                <a:cubicBezTo>
                  <a:pt x="3030975" y="-55415"/>
                  <a:pt x="3236669" y="62882"/>
                  <a:pt x="3373568" y="0"/>
                </a:cubicBezTo>
                <a:cubicBezTo>
                  <a:pt x="3510467" y="-62882"/>
                  <a:pt x="3602471" y="44997"/>
                  <a:pt x="3766776" y="0"/>
                </a:cubicBezTo>
                <a:cubicBezTo>
                  <a:pt x="3931081" y="-44997"/>
                  <a:pt x="3998311" y="33017"/>
                  <a:pt x="4075725" y="0"/>
                </a:cubicBezTo>
                <a:cubicBezTo>
                  <a:pt x="4153139" y="-33017"/>
                  <a:pt x="4241843" y="4073"/>
                  <a:pt x="4384674" y="0"/>
                </a:cubicBezTo>
                <a:cubicBezTo>
                  <a:pt x="4527505" y="-4073"/>
                  <a:pt x="4673427" y="35225"/>
                  <a:pt x="4946399" y="0"/>
                </a:cubicBezTo>
                <a:cubicBezTo>
                  <a:pt x="5219371" y="-35225"/>
                  <a:pt x="5171239" y="4521"/>
                  <a:pt x="5339607" y="0"/>
                </a:cubicBezTo>
                <a:cubicBezTo>
                  <a:pt x="5507975" y="-4521"/>
                  <a:pt x="5571275" y="26945"/>
                  <a:pt x="5732815" y="0"/>
                </a:cubicBezTo>
                <a:cubicBezTo>
                  <a:pt x="5894355" y="-26945"/>
                  <a:pt x="6236276" y="54614"/>
                  <a:pt x="6463059" y="0"/>
                </a:cubicBezTo>
                <a:cubicBezTo>
                  <a:pt x="6689842" y="-54614"/>
                  <a:pt x="6772831" y="41431"/>
                  <a:pt x="7024784" y="0"/>
                </a:cubicBezTo>
                <a:cubicBezTo>
                  <a:pt x="7276738" y="-41431"/>
                  <a:pt x="7230436" y="5303"/>
                  <a:pt x="7417992" y="0"/>
                </a:cubicBezTo>
                <a:cubicBezTo>
                  <a:pt x="7605548" y="-5303"/>
                  <a:pt x="7618046" y="7996"/>
                  <a:pt x="7726942" y="0"/>
                </a:cubicBezTo>
                <a:cubicBezTo>
                  <a:pt x="7835838" y="-7996"/>
                  <a:pt x="8155902" y="5180"/>
                  <a:pt x="8288667" y="0"/>
                </a:cubicBezTo>
                <a:cubicBezTo>
                  <a:pt x="8421433" y="-5180"/>
                  <a:pt x="8596772" y="20352"/>
                  <a:pt x="8766134" y="0"/>
                </a:cubicBezTo>
                <a:cubicBezTo>
                  <a:pt x="8927608" y="-21730"/>
                  <a:pt x="9103731" y="172783"/>
                  <a:pt x="9106383" y="340249"/>
                </a:cubicBezTo>
                <a:cubicBezTo>
                  <a:pt x="9137736" y="466099"/>
                  <a:pt x="9068030" y="602392"/>
                  <a:pt x="9106383" y="780290"/>
                </a:cubicBezTo>
                <a:cubicBezTo>
                  <a:pt x="9144736" y="958188"/>
                  <a:pt x="9088229" y="1133700"/>
                  <a:pt x="9106383" y="1247551"/>
                </a:cubicBezTo>
                <a:cubicBezTo>
                  <a:pt x="9124537" y="1361402"/>
                  <a:pt x="9098267" y="1507165"/>
                  <a:pt x="9106383" y="1701202"/>
                </a:cubicBezTo>
                <a:cubicBezTo>
                  <a:pt x="9102516" y="1887974"/>
                  <a:pt x="8976194" y="2025509"/>
                  <a:pt x="8766134" y="2041451"/>
                </a:cubicBezTo>
                <a:cubicBezTo>
                  <a:pt x="8502826" y="2106932"/>
                  <a:pt x="8323591" y="2040215"/>
                  <a:pt x="8035891" y="2041451"/>
                </a:cubicBezTo>
                <a:cubicBezTo>
                  <a:pt x="7748191" y="2042687"/>
                  <a:pt x="7673294" y="2011854"/>
                  <a:pt x="7558424" y="2041451"/>
                </a:cubicBezTo>
                <a:cubicBezTo>
                  <a:pt x="7443554" y="2071048"/>
                  <a:pt x="7102337" y="1990837"/>
                  <a:pt x="6912439" y="2041451"/>
                </a:cubicBezTo>
                <a:cubicBezTo>
                  <a:pt x="6722541" y="2092065"/>
                  <a:pt x="6386578" y="1977416"/>
                  <a:pt x="6182196" y="2041451"/>
                </a:cubicBezTo>
                <a:cubicBezTo>
                  <a:pt x="5977814" y="2105486"/>
                  <a:pt x="5877417" y="2005275"/>
                  <a:pt x="5788988" y="2041451"/>
                </a:cubicBezTo>
                <a:cubicBezTo>
                  <a:pt x="5700559" y="2077627"/>
                  <a:pt x="5347246" y="2035031"/>
                  <a:pt x="5143003" y="2041451"/>
                </a:cubicBezTo>
                <a:cubicBezTo>
                  <a:pt x="4938761" y="2047871"/>
                  <a:pt x="4949849" y="2025528"/>
                  <a:pt x="4834054" y="2041451"/>
                </a:cubicBezTo>
                <a:cubicBezTo>
                  <a:pt x="4718259" y="2057374"/>
                  <a:pt x="4456802" y="2003383"/>
                  <a:pt x="4272329" y="2041451"/>
                </a:cubicBezTo>
                <a:cubicBezTo>
                  <a:pt x="4087857" y="2079519"/>
                  <a:pt x="3750505" y="1971969"/>
                  <a:pt x="3542085" y="2041451"/>
                </a:cubicBezTo>
                <a:cubicBezTo>
                  <a:pt x="3333665" y="2110933"/>
                  <a:pt x="3298419" y="2025338"/>
                  <a:pt x="3148877" y="2041451"/>
                </a:cubicBezTo>
                <a:cubicBezTo>
                  <a:pt x="2999335" y="2057564"/>
                  <a:pt x="2648808" y="2013317"/>
                  <a:pt x="2418634" y="2041451"/>
                </a:cubicBezTo>
                <a:cubicBezTo>
                  <a:pt x="2188460" y="2069585"/>
                  <a:pt x="2137501" y="2039763"/>
                  <a:pt x="1941167" y="2041451"/>
                </a:cubicBezTo>
                <a:cubicBezTo>
                  <a:pt x="1744833" y="2043139"/>
                  <a:pt x="1582002" y="1988136"/>
                  <a:pt x="1295183" y="2041451"/>
                </a:cubicBezTo>
                <a:cubicBezTo>
                  <a:pt x="1008364" y="2094766"/>
                  <a:pt x="536099" y="1969278"/>
                  <a:pt x="340249" y="2041451"/>
                </a:cubicBezTo>
                <a:cubicBezTo>
                  <a:pt x="147012" y="2003411"/>
                  <a:pt x="9352" y="1889959"/>
                  <a:pt x="0" y="1701202"/>
                </a:cubicBezTo>
                <a:cubicBezTo>
                  <a:pt x="-11823" y="1580801"/>
                  <a:pt x="165" y="1427427"/>
                  <a:pt x="0" y="1220332"/>
                </a:cubicBezTo>
                <a:cubicBezTo>
                  <a:pt x="-165" y="1013237"/>
                  <a:pt x="8883" y="984801"/>
                  <a:pt x="0" y="793900"/>
                </a:cubicBezTo>
                <a:cubicBezTo>
                  <a:pt x="-8883" y="602999"/>
                  <a:pt x="7088" y="519795"/>
                  <a:pt x="0" y="340249"/>
                </a:cubicBezTo>
                <a:close/>
              </a:path>
            </a:pathLst>
          </a:custGeom>
          <a:ln>
            <a:extLst>
              <a:ext uri="{C807C97D-BFC1-408E-A445-0C87EB9F89A2}">
                <ask:lineSketchStyleProps xmlns:ask="http://schemas.microsoft.com/office/drawing/2018/sketchyshapes" sd="2970139348">
                  <a:prstGeom prst="roundRect">
                    <a:avLst/>
                  </a:prstGeom>
                  <ask:type>
                    <ask:lineSketchScribble/>
                  </ask:type>
                </ask:lineSketchStyleProps>
              </a:ext>
            </a:extLst>
          </a:ln>
          <a:effectLst>
            <a:outerShdw blurRad="63500" sx="102000" sy="102000" algn="ctr"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IN" sz="4000" b="1" dirty="0">
                <a:ln w="13462">
                  <a:solidFill>
                    <a:schemeClr val="bg1"/>
                  </a:solidFill>
                  <a:prstDash val="solid"/>
                </a:ln>
                <a:solidFill>
                  <a:schemeClr val="tx1">
                    <a:lumMod val="85000"/>
                    <a:lumOff val="15000"/>
                  </a:schemeClr>
                </a:solidFill>
                <a:effectLst>
                  <a:outerShdw dist="38100" dir="2700000" algn="bl" rotWithShape="0">
                    <a:schemeClr val="accent5"/>
                  </a:outerShdw>
                </a:effectLst>
                <a:latin typeface="Sitka Small Semibold" pitchFamily="2" charset="0"/>
              </a:rPr>
              <a:t>Amazon-Fine-Food-Review-Analysis</a:t>
            </a:r>
            <a:endParaRPr lang="en-IN" sz="4000" b="1" dirty="0">
              <a:effectLst>
                <a:outerShdw blurRad="38100" dist="38100" dir="2700000" algn="tl">
                  <a:srgbClr val="000000">
                    <a:alpha val="43137"/>
                  </a:srgbClr>
                </a:outerShdw>
              </a:effectLst>
              <a:latin typeface="Sitka Small Semibold" pitchFamily="2" charset="0"/>
            </a:endParaRPr>
          </a:p>
        </p:txBody>
      </p:sp>
    </p:spTree>
    <p:extLst>
      <p:ext uri="{BB962C8B-B14F-4D97-AF65-F5344CB8AC3E}">
        <p14:creationId xmlns:p14="http://schemas.microsoft.com/office/powerpoint/2010/main" val="1925321039"/>
      </p:ext>
    </p:extLst>
  </p:cSld>
  <p:clrMapOvr>
    <a:masterClrMapping/>
  </p:clrMapOvr>
  <p:transition spd="slow">
    <p:cove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D89167D-DFCD-FD0A-0FCA-3BE90162B3C0}"/>
              </a:ext>
            </a:extLst>
          </p:cNvPr>
          <p:cNvSpPr>
            <a:spLocks noGrp="1"/>
          </p:cNvSpPr>
          <p:nvPr>
            <p:ph type="title"/>
          </p:nvPr>
        </p:nvSpPr>
        <p:spPr>
          <a:xfrm>
            <a:off x="913776" y="452673"/>
            <a:ext cx="10364451" cy="1013988"/>
          </a:xfrm>
          <a:solidFill>
            <a:schemeClr val="bg1">
              <a:lumMod val="20000"/>
              <a:lumOff val="80000"/>
            </a:schemeClr>
          </a:solidFill>
        </p:spPr>
        <p:style>
          <a:lnRef idx="1">
            <a:schemeClr val="accent6"/>
          </a:lnRef>
          <a:fillRef idx="2">
            <a:schemeClr val="accent6"/>
          </a:fillRef>
          <a:effectRef idx="1">
            <a:schemeClr val="accent6"/>
          </a:effectRef>
          <a:fontRef idx="minor">
            <a:schemeClr val="dk1"/>
          </a:fontRef>
        </p:style>
        <p:txBody>
          <a:bodyPr>
            <a:normAutofit fontScale="90000"/>
          </a:bodyPr>
          <a:lstStyle/>
          <a:p>
            <a:pPr algn="l"/>
            <a:br>
              <a:rPr lang="en-IN" sz="1800" b="1" i="1" kern="1800" dirty="0">
                <a:solidFill>
                  <a:srgbClr val="292929"/>
                </a:solidFill>
                <a:effectLst/>
                <a:latin typeface="Calibri Light" panose="020F0302020204030204" pitchFamily="34" charset="0"/>
                <a:ea typeface="Times New Roman" panose="02020603050405020304" pitchFamily="18" charset="0"/>
              </a:rPr>
            </a:br>
            <a:br>
              <a:rPr lang="en-IN" sz="1800" b="1" i="1" kern="1800" dirty="0">
                <a:solidFill>
                  <a:srgbClr val="292929"/>
                </a:solidFill>
                <a:effectLst/>
                <a:latin typeface="Calibri Light" panose="020F0302020204030204" pitchFamily="34" charset="0"/>
                <a:ea typeface="Times New Roman" panose="02020603050405020304" pitchFamily="18" charset="0"/>
              </a:rPr>
            </a:br>
            <a:r>
              <a:rPr lang="en-IN" sz="3100" b="1" i="1" kern="1800" cap="none"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Loading the Data:</a:t>
            </a:r>
            <a:br>
              <a:rPr lang="en-IN" sz="3100" cap="none" dirty="0">
                <a:effectLst/>
                <a:latin typeface="Times New Roman" panose="02020603050405020304" pitchFamily="18" charset="0"/>
                <a:ea typeface="Times New Roman" panose="02020603050405020304" pitchFamily="18" charset="0"/>
                <a:cs typeface="Times New Roman" panose="02020603050405020304" pitchFamily="18" charset="0"/>
              </a:rPr>
            </a:br>
            <a:endParaRPr lang="en-IN" sz="3100" dirty="0">
              <a:latin typeface="Times New Roman" panose="02020603050405020304" pitchFamily="18" charset="0"/>
              <a:cs typeface="Times New Roman" panose="02020603050405020304" pitchFamily="18" charset="0"/>
            </a:endParaRPr>
          </a:p>
        </p:txBody>
      </p:sp>
      <p:sp>
        <p:nvSpPr>
          <p:cNvPr id="6" name="Content Placeholder 5">
            <a:extLst>
              <a:ext uri="{FF2B5EF4-FFF2-40B4-BE49-F238E27FC236}">
                <a16:creationId xmlns:a16="http://schemas.microsoft.com/office/drawing/2014/main" id="{82AFFB49-AED0-719D-41E8-849E643ED70A}"/>
              </a:ext>
            </a:extLst>
          </p:cNvPr>
          <p:cNvSpPr>
            <a:spLocks noGrp="1"/>
          </p:cNvSpPr>
          <p:nvPr>
            <p:ph sz="quarter" idx="13"/>
          </p:nvPr>
        </p:nvSpPr>
        <p:spPr>
          <a:xfrm>
            <a:off x="913773" y="1647733"/>
            <a:ext cx="10363827" cy="2408219"/>
          </a:xfrm>
          <a:solidFill>
            <a:schemeClr val="bg1">
              <a:lumMod val="20000"/>
              <a:lumOff val="80000"/>
            </a:schemeClr>
          </a:solidFill>
        </p:spPr>
        <p:txBody>
          <a:bodyPr>
            <a:normAutofit/>
          </a:bodyPr>
          <a:lstStyle/>
          <a:p>
            <a:pPr>
              <a:lnSpc>
                <a:spcPts val="2400"/>
              </a:lnSpc>
              <a:spcBef>
                <a:spcPts val="600"/>
              </a:spcBef>
            </a:pPr>
            <a:r>
              <a:rPr lang="en-IN" sz="16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The dataset is available in two forms</a:t>
            </a:r>
            <a:endParaRPr lang="en-IN" sz="1600" cap="none" dirty="0">
              <a:latin typeface="Times New Roman" panose="02020603050405020304" pitchFamily="18" charset="0"/>
              <a:ea typeface="Times New Roman" panose="02020603050405020304" pitchFamily="18" charset="0"/>
              <a:cs typeface="Times New Roman" panose="02020603050405020304" pitchFamily="18" charset="0"/>
            </a:endParaRPr>
          </a:p>
          <a:p>
            <a:pPr marL="0" indent="0">
              <a:lnSpc>
                <a:spcPts val="2400"/>
              </a:lnSpc>
              <a:spcBef>
                <a:spcPts val="600"/>
              </a:spcBef>
              <a:buNone/>
            </a:pPr>
            <a:r>
              <a:rPr lang="en-IN" sz="16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         1. CSV file</a:t>
            </a:r>
            <a:endParaRPr lang="en-IN" sz="1600" cap="none"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lvl="0" indent="0">
              <a:lnSpc>
                <a:spcPts val="2100"/>
              </a:lnSpc>
              <a:spcBef>
                <a:spcPts val="600"/>
              </a:spcBef>
              <a:buNone/>
              <a:tabLst>
                <a:tab pos="457200" algn="l"/>
              </a:tabLst>
            </a:pPr>
            <a:r>
              <a:rPr lang="en-IN" sz="16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        2.  SQLite database</a:t>
            </a:r>
            <a:endParaRPr lang="en-IN" sz="1600" cap="none"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nSpc>
                <a:spcPts val="2400"/>
              </a:lnSpc>
              <a:spcBef>
                <a:spcPts val="600"/>
              </a:spcBef>
            </a:pPr>
            <a:r>
              <a:rPr lang="en-IN" sz="16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In order to load the data, we have used the CSV dataset as it easier to query the data and visualize the data efficiently.</a:t>
            </a:r>
            <a:endParaRPr lang="en-IN" sz="1600" cap="none"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ts val="2100"/>
              </a:lnSpc>
              <a:spcBef>
                <a:spcPts val="600"/>
              </a:spcBef>
            </a:pPr>
            <a:r>
              <a:rPr lang="en-IN" sz="16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I used a database of over 500,000 reviews of amazon fine foods that is available . </a:t>
            </a:r>
            <a:endParaRPr lang="en-IN" sz="1600" cap="none"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nSpc>
                <a:spcPts val="2400"/>
              </a:lnSpc>
              <a:spcBef>
                <a:spcPts val="600"/>
              </a:spcBef>
            </a:pPr>
            <a:r>
              <a:rPr lang="en-IN" sz="16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When </a:t>
            </a:r>
            <a:r>
              <a:rPr lang="en-IN" sz="1600" i="1" cap="none" spc="-5" dirty="0">
                <a:solidFill>
                  <a:srgbClr val="292929"/>
                </a:solidFill>
                <a:latin typeface="Times New Roman" panose="02020603050405020304" pitchFamily="18" charset="0"/>
                <a:ea typeface="Times New Roman" panose="02020603050405020304" pitchFamily="18" charset="0"/>
                <a:cs typeface="Times New Roman" panose="02020603050405020304" pitchFamily="18" charset="0"/>
              </a:rPr>
              <a:t>I </a:t>
            </a:r>
            <a:r>
              <a:rPr lang="en-IN" sz="16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am loading the dataset using pandas </a:t>
            </a:r>
            <a:r>
              <a:rPr lang="en-IN" sz="1600" i="1" cap="none" spc="-5" dirty="0">
                <a:solidFill>
                  <a:srgbClr val="292929"/>
                </a:solidFill>
                <a:latin typeface="Times New Roman" panose="02020603050405020304" pitchFamily="18" charset="0"/>
                <a:ea typeface="Times New Roman" panose="02020603050405020304" pitchFamily="18" charset="0"/>
                <a:cs typeface="Times New Roman" panose="02020603050405020304" pitchFamily="18" charset="0"/>
              </a:rPr>
              <a:t>I</a:t>
            </a:r>
            <a:r>
              <a:rPr lang="en-IN" sz="16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 got this output in </a:t>
            </a:r>
            <a:r>
              <a:rPr lang="en-IN" sz="1600" i="1" cap="none" spc="-5" dirty="0">
                <a:solidFill>
                  <a:srgbClr val="292929"/>
                </a:solidFill>
                <a:latin typeface="Times New Roman" panose="02020603050405020304" pitchFamily="18" charset="0"/>
                <a:ea typeface="Times New Roman" panose="02020603050405020304" pitchFamily="18" charset="0"/>
                <a:cs typeface="Times New Roman" panose="02020603050405020304" pitchFamily="18" charset="0"/>
              </a:rPr>
              <a:t>J</a:t>
            </a:r>
            <a:r>
              <a:rPr lang="en-IN" sz="16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upiter notebook.</a:t>
            </a:r>
            <a:endParaRPr lang="en-IN" sz="1600" cap="none"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indent="0">
              <a:buNone/>
            </a:pPr>
            <a:endParaRPr lang="en-IN" dirty="0"/>
          </a:p>
        </p:txBody>
      </p:sp>
      <p:pic>
        <p:nvPicPr>
          <p:cNvPr id="8" name="Picture 7">
            <a:extLst>
              <a:ext uri="{FF2B5EF4-FFF2-40B4-BE49-F238E27FC236}">
                <a16:creationId xmlns:a16="http://schemas.microsoft.com/office/drawing/2014/main" id="{B954AD74-FD9A-7B3D-71BB-7D21CDDE94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6416" y="4146487"/>
            <a:ext cx="9832063" cy="2598345"/>
          </a:xfrm>
          <a:prstGeom prst="rect">
            <a:avLst/>
          </a:prstGeom>
        </p:spPr>
      </p:pic>
    </p:spTree>
    <p:extLst>
      <p:ext uri="{BB962C8B-B14F-4D97-AF65-F5344CB8AC3E}">
        <p14:creationId xmlns:p14="http://schemas.microsoft.com/office/powerpoint/2010/main" val="1342965820"/>
      </p:ext>
    </p:extLst>
  </p:cSld>
  <p:clrMapOvr>
    <a:masterClrMapping/>
  </p:clrMapOvr>
  <p:transition spd="slow">
    <p:cove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66829-F94B-6CD4-82B3-C0B78E53E8DC}"/>
              </a:ext>
            </a:extLst>
          </p:cNvPr>
          <p:cNvSpPr>
            <a:spLocks noGrp="1"/>
          </p:cNvSpPr>
          <p:nvPr>
            <p:ph type="title"/>
          </p:nvPr>
        </p:nvSpPr>
        <p:spPr>
          <a:xfrm>
            <a:off x="913776" y="618521"/>
            <a:ext cx="10620339" cy="766660"/>
          </a:xfrm>
          <a:solidFill>
            <a:schemeClr val="bg1">
              <a:lumMod val="20000"/>
              <a:lumOff val="80000"/>
            </a:schemeClr>
          </a:solidFill>
        </p:spPr>
        <p:style>
          <a:lnRef idx="1">
            <a:schemeClr val="accent6"/>
          </a:lnRef>
          <a:fillRef idx="2">
            <a:schemeClr val="accent6"/>
          </a:fillRef>
          <a:effectRef idx="1">
            <a:schemeClr val="accent6"/>
          </a:effectRef>
          <a:fontRef idx="minor">
            <a:schemeClr val="dk1"/>
          </a:fontRef>
        </p:style>
        <p:txBody>
          <a:bodyPr>
            <a:normAutofit fontScale="90000"/>
          </a:bodyPr>
          <a:lstStyle/>
          <a:p>
            <a:pPr algn="l"/>
            <a:br>
              <a:rPr lang="en-IN" sz="1800" dirty="0">
                <a:effectLst/>
                <a:latin typeface="Calibri" panose="020F0502020204030204" pitchFamily="34" charset="0"/>
                <a:ea typeface="Calibri" panose="020F0502020204030204" pitchFamily="34" charset="0"/>
                <a:cs typeface="Times New Roman" panose="02020603050405020304" pitchFamily="18" charset="0"/>
              </a:rPr>
            </a:br>
            <a:br>
              <a:rPr lang="en-IN" sz="1800" dirty="0">
                <a:effectLst/>
                <a:latin typeface="Calibri" panose="020F0502020204030204" pitchFamily="34" charset="0"/>
                <a:ea typeface="Calibri" panose="020F0502020204030204" pitchFamily="34" charset="0"/>
                <a:cs typeface="Times New Roman" panose="02020603050405020304" pitchFamily="18" charset="0"/>
              </a:rPr>
            </a:br>
            <a:r>
              <a:rPr lang="en-IN" sz="2700" dirty="0">
                <a:effectLst/>
                <a:latin typeface="Times New Roman" panose="02020603050405020304" pitchFamily="18" charset="0"/>
                <a:ea typeface="Calibri" panose="020F0502020204030204" pitchFamily="34" charset="0"/>
                <a:cs typeface="Times New Roman" panose="02020603050405020304" pitchFamily="18" charset="0"/>
              </a:rPr>
              <a:t>Overview of the review and summary text:</a:t>
            </a:r>
            <a:br>
              <a:rPr lang="en-IN" sz="2700" dirty="0">
                <a:effectLst/>
                <a:latin typeface="Times New Roman" panose="02020603050405020304" pitchFamily="18" charset="0"/>
                <a:ea typeface="Calibri" panose="020F0502020204030204" pitchFamily="34" charset="0"/>
                <a:cs typeface="Times New Roman" panose="02020603050405020304" pitchFamily="18" charset="0"/>
              </a:rPr>
            </a:br>
            <a:endParaRPr lang="en-IN" sz="2700"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B4B261D8-4AE9-52B0-923C-526E763AB410}"/>
              </a:ext>
            </a:extLst>
          </p:cNvPr>
          <p:cNvSpPr>
            <a:spLocks noGrp="1"/>
          </p:cNvSpPr>
          <p:nvPr>
            <p:ph sz="quarter" idx="13"/>
          </p:nvPr>
        </p:nvSpPr>
        <p:spPr>
          <a:xfrm>
            <a:off x="913773" y="1692998"/>
            <a:ext cx="10692770" cy="5015620"/>
          </a:xfrm>
          <a:solidFill>
            <a:schemeClr val="bg1">
              <a:lumMod val="20000"/>
              <a:lumOff val="80000"/>
            </a:schemeClr>
          </a:solidFill>
        </p:spPr>
        <p:style>
          <a:lnRef idx="1">
            <a:schemeClr val="accent6"/>
          </a:lnRef>
          <a:fillRef idx="2">
            <a:schemeClr val="accent6"/>
          </a:fillRef>
          <a:effectRef idx="1">
            <a:schemeClr val="accent6"/>
          </a:effectRef>
          <a:fontRef idx="minor">
            <a:schemeClr val="dk1"/>
          </a:fontRef>
        </p:style>
        <p:txBody>
          <a:bodyPr/>
          <a:lstStyle/>
          <a:p>
            <a:pPr>
              <a:buFont typeface="Wingdings" panose="05000000000000000000" pitchFamily="2" charset="2"/>
              <a:buChar char="Ø"/>
            </a:pPr>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The review text contains a detailed description of the product from the user’s perspective. Moreover, it also describes the overall sentiment of the user toward the product apart from the description of the product itself. Some of the examples of the review text are shown below:</a:t>
            </a:r>
          </a:p>
          <a:p>
            <a:pPr>
              <a:buFont typeface="Wingdings" panose="05000000000000000000" pitchFamily="2" charset="2"/>
              <a:buChar char="Ø"/>
            </a:pPr>
            <a:endParaRPr lang="en-IN" cap="none" dirty="0">
              <a:latin typeface="Times New Roman" panose="02020603050405020304" pitchFamily="18" charset="0"/>
              <a:ea typeface="Calibri" panose="020F0502020204030204" pitchFamily="34" charset="0"/>
              <a:cs typeface="Times New Roman" panose="02020603050405020304" pitchFamily="18" charset="0"/>
            </a:endParaRPr>
          </a:p>
          <a:p>
            <a:pPr marL="0" indent="0">
              <a:buNone/>
            </a:pPr>
            <a:endParaRPr lang="en-IN" cap="none" dirty="0">
              <a:effectLst/>
              <a:latin typeface="Times New Roman" panose="02020603050405020304" pitchFamily="18" charset="0"/>
              <a:ea typeface="Calibri" panose="020F0502020204030204" pitchFamily="34" charset="0"/>
              <a:cs typeface="Times New Roman" panose="02020603050405020304" pitchFamily="18" charset="0"/>
            </a:endParaRPr>
          </a:p>
          <a:p>
            <a:pPr marL="0" indent="0">
              <a:buNone/>
            </a:pPr>
            <a:endParaRPr lang="en-IN" cap="none" dirty="0">
              <a:latin typeface="Times New Roman" panose="02020603050405020304" pitchFamily="18" charset="0"/>
              <a:ea typeface="Calibri" panose="020F0502020204030204" pitchFamily="34" charset="0"/>
              <a:cs typeface="Times New Roman" panose="02020603050405020304" pitchFamily="18" charset="0"/>
            </a:endParaRPr>
          </a:p>
          <a:p>
            <a:pPr>
              <a:buFont typeface="Wingdings" panose="05000000000000000000" pitchFamily="2" charset="2"/>
              <a:buChar char="Ø"/>
            </a:pP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On the other hand, the summary text represents a user’s sentiment in a very confined manner. The information is conveyed in few words in this case. Some of the examples of the summary text are shown below:</a:t>
            </a:r>
          </a:p>
          <a:p>
            <a:pPr>
              <a:buFont typeface="Wingdings" panose="05000000000000000000" pitchFamily="2" charset="2"/>
              <a:buChar char="Ø"/>
            </a:pP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endParaRPr lang="en-IN" dirty="0"/>
          </a:p>
        </p:txBody>
      </p:sp>
      <p:pic>
        <p:nvPicPr>
          <p:cNvPr id="4" name="Picture 3">
            <a:extLst>
              <a:ext uri="{FF2B5EF4-FFF2-40B4-BE49-F238E27FC236}">
                <a16:creationId xmlns:a16="http://schemas.microsoft.com/office/drawing/2014/main" id="{699F80E7-2628-3073-C0C7-3F7DA3BBAB0A}"/>
              </a:ext>
            </a:extLst>
          </p:cNvPr>
          <p:cNvPicPr>
            <a:picLocks noChangeAspect="1"/>
          </p:cNvPicPr>
          <p:nvPr/>
        </p:nvPicPr>
        <p:blipFill rotWithShape="1">
          <a:blip r:embed="rId2">
            <a:extLst>
              <a:ext uri="{28A0092B-C50C-407E-A947-70E740481C1C}">
                <a14:useLocalDpi xmlns:a14="http://schemas.microsoft.com/office/drawing/2010/main" val="0"/>
              </a:ext>
            </a:extLst>
          </a:blip>
          <a:srcRect l="6735" t="-2452" r="342" b="2452"/>
          <a:stretch/>
        </p:blipFill>
        <p:spPr bwMode="auto">
          <a:xfrm>
            <a:off x="2344847" y="2788894"/>
            <a:ext cx="7369521" cy="1476658"/>
          </a:xfrm>
          <a:prstGeom prst="rect">
            <a:avLst/>
          </a:prstGeom>
          <a:noFill/>
          <a:ln>
            <a:noFill/>
          </a:ln>
        </p:spPr>
      </p:pic>
      <p:pic>
        <p:nvPicPr>
          <p:cNvPr id="5" name="Picture 4">
            <a:extLst>
              <a:ext uri="{FF2B5EF4-FFF2-40B4-BE49-F238E27FC236}">
                <a16:creationId xmlns:a16="http://schemas.microsoft.com/office/drawing/2014/main" id="{0860BB03-F4FD-4FB2-B97E-E146625E076B}"/>
              </a:ext>
            </a:extLst>
          </p:cNvPr>
          <p:cNvPicPr>
            <a:picLocks noChangeAspect="1"/>
          </p:cNvPicPr>
          <p:nvPr/>
        </p:nvPicPr>
        <p:blipFill rotWithShape="1">
          <a:blip r:embed="rId3">
            <a:extLst>
              <a:ext uri="{28A0092B-C50C-407E-A947-70E740481C1C}">
                <a14:useLocalDpi xmlns:a14="http://schemas.microsoft.com/office/drawing/2010/main" val="0"/>
              </a:ext>
            </a:extLst>
          </a:blip>
          <a:srcRect l="13368" t="-457" b="457"/>
          <a:stretch/>
        </p:blipFill>
        <p:spPr bwMode="auto">
          <a:xfrm>
            <a:off x="3847724" y="5130628"/>
            <a:ext cx="5124308" cy="1577990"/>
          </a:xfrm>
          <a:prstGeom prst="rect">
            <a:avLst/>
          </a:prstGeom>
          <a:noFill/>
          <a:ln>
            <a:noFill/>
          </a:ln>
        </p:spPr>
      </p:pic>
    </p:spTree>
    <p:extLst>
      <p:ext uri="{BB962C8B-B14F-4D97-AF65-F5344CB8AC3E}">
        <p14:creationId xmlns:p14="http://schemas.microsoft.com/office/powerpoint/2010/main" val="261607394"/>
      </p:ext>
    </p:extLst>
  </p:cSld>
  <p:clrMapOvr>
    <a:masterClrMapping/>
  </p:clrMapOvr>
  <p:transition spd="slow">
    <p:cove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9EF28-B8B7-1F6D-832E-105739042609}"/>
              </a:ext>
            </a:extLst>
          </p:cNvPr>
          <p:cNvSpPr>
            <a:spLocks noGrp="1"/>
          </p:cNvSpPr>
          <p:nvPr>
            <p:ph type="title"/>
          </p:nvPr>
        </p:nvSpPr>
        <p:spPr>
          <a:xfrm>
            <a:off x="913776" y="452674"/>
            <a:ext cx="10364451" cy="724276"/>
          </a:xfrm>
          <a:solidFill>
            <a:schemeClr val="bg1">
              <a:lumMod val="20000"/>
              <a:lumOff val="80000"/>
            </a:schemeClr>
          </a:solidFill>
        </p:spPr>
        <p:txBody>
          <a:bodyPr>
            <a:normAutofit/>
          </a:bodyPr>
          <a:lstStyle/>
          <a:p>
            <a:pPr algn="l"/>
            <a:r>
              <a:rPr lang="en-IN" sz="2800" cap="none" dirty="0">
                <a:effectLst/>
                <a:latin typeface="Times New Roman" panose="02020603050405020304" pitchFamily="18" charset="0"/>
                <a:ea typeface="Calibri" panose="020F0502020204030204" pitchFamily="34" charset="0"/>
                <a:cs typeface="Times New Roman" panose="02020603050405020304" pitchFamily="18" charset="0"/>
              </a:rPr>
              <a:t>Overview of the Helpfulness </a:t>
            </a:r>
            <a:r>
              <a:rPr lang="en-IN" sz="2800" cap="none" dirty="0">
                <a:latin typeface="Times New Roman" panose="02020603050405020304" pitchFamily="18" charset="0"/>
                <a:ea typeface="Calibri" panose="020F0502020204030204" pitchFamily="34" charset="0"/>
                <a:cs typeface="Times New Roman" panose="02020603050405020304" pitchFamily="18" charset="0"/>
              </a:rPr>
              <a:t>N</a:t>
            </a:r>
            <a:r>
              <a:rPr lang="en-IN" sz="2800" cap="none" dirty="0">
                <a:effectLst/>
                <a:latin typeface="Times New Roman" panose="02020603050405020304" pitchFamily="18" charset="0"/>
                <a:ea typeface="Calibri" panose="020F0502020204030204" pitchFamily="34" charset="0"/>
                <a:cs typeface="Times New Roman" panose="02020603050405020304" pitchFamily="18" charset="0"/>
              </a:rPr>
              <a:t>umerator:</a:t>
            </a:r>
            <a:endParaRPr lang="en-IN" sz="2800" cap="none"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51DA29AA-875E-6F31-AC07-631CE323CE53}"/>
              </a:ext>
            </a:extLst>
          </p:cNvPr>
          <p:cNvSpPr>
            <a:spLocks noGrp="1"/>
          </p:cNvSpPr>
          <p:nvPr>
            <p:ph sz="quarter" idx="13"/>
          </p:nvPr>
        </p:nvSpPr>
        <p:spPr>
          <a:xfrm>
            <a:off x="914400" y="1348966"/>
            <a:ext cx="10363827" cy="5509034"/>
          </a:xfrm>
          <a:solidFill>
            <a:schemeClr val="bg1">
              <a:lumMod val="20000"/>
              <a:lumOff val="80000"/>
            </a:schemeClr>
          </a:solidFill>
        </p:spPr>
        <p:style>
          <a:lnRef idx="1">
            <a:schemeClr val="accent6"/>
          </a:lnRef>
          <a:fillRef idx="2">
            <a:schemeClr val="accent6"/>
          </a:fillRef>
          <a:effectRef idx="1">
            <a:schemeClr val="accent6"/>
          </a:effectRef>
          <a:fontRef idx="minor">
            <a:schemeClr val="dk1"/>
          </a:fontRef>
        </p:style>
        <p:txBody>
          <a:bodyPr/>
          <a:lstStyle/>
          <a:p>
            <a:pPr>
              <a:buFont typeface="Wingdings" panose="05000000000000000000" pitchFamily="2" charset="2"/>
              <a:buChar char="Ø"/>
            </a:pPr>
            <a:r>
              <a:rPr lang="en-IN" sz="1800" cap="none" spc="-5" dirty="0">
                <a:solidFill>
                  <a:srgbClr val="292929"/>
                </a:solidFill>
                <a:latin typeface="Times New Roman" panose="02020603050405020304" pitchFamily="18" charset="0"/>
                <a:ea typeface="Calibri" panose="020F0502020204030204" pitchFamily="34" charset="0"/>
                <a:cs typeface="Times New Roman" panose="02020603050405020304" pitchFamily="18" charset="0"/>
              </a:rPr>
              <a:t>Helpfulness numerator</a:t>
            </a:r>
            <a:r>
              <a:rPr lang="en-IN" b="1" i="1" spc="-5" dirty="0">
                <a:solidFill>
                  <a:srgbClr val="292929"/>
                </a:solidFill>
                <a:latin typeface="Times New Roman" panose="02020603050405020304" pitchFamily="18" charset="0"/>
                <a:ea typeface="Calibri" panose="020F0502020204030204" pitchFamily="34" charset="0"/>
                <a:cs typeface="Times New Roman" panose="02020603050405020304" pitchFamily="18" charset="0"/>
              </a:rPr>
              <a:t>: </a:t>
            </a:r>
            <a:r>
              <a:rPr lang="en-IN" i="1" cap="none" spc="-5" dirty="0">
                <a:solidFill>
                  <a:srgbClr val="292929"/>
                </a:solidFill>
                <a:latin typeface="Times New Roman" panose="02020603050405020304" pitchFamily="18" charset="0"/>
                <a:ea typeface="Calibri" panose="020F0502020204030204" pitchFamily="34" charset="0"/>
                <a:cs typeface="Times New Roman" panose="02020603050405020304" pitchFamily="18" charset="0"/>
              </a:rPr>
              <a:t>Number of peoples who found the review helpful to them.</a:t>
            </a:r>
          </a:p>
          <a:p>
            <a:pPr marL="0" indent="0">
              <a:buNone/>
            </a:pPr>
            <a:endParaRPr lang="en-IN" sz="2400" i="1" cap="none" spc="-5" dirty="0">
              <a:solidFill>
                <a:srgbClr val="292929"/>
              </a:solidFill>
              <a:latin typeface="Times New Roman" panose="02020603050405020304" pitchFamily="18" charset="0"/>
              <a:ea typeface="Calibri" panose="020F0502020204030204" pitchFamily="34" charset="0"/>
              <a:cs typeface="Times New Roman" panose="02020603050405020304" pitchFamily="18" charset="0"/>
            </a:endParaRPr>
          </a:p>
          <a:p>
            <a:pPr>
              <a:buFont typeface="Wingdings" panose="05000000000000000000" pitchFamily="2" charset="2"/>
              <a:buChar char="Ø"/>
            </a:pPr>
            <a:endParaRPr lang="en-IN" sz="2400" i="1" cap="none" spc="-5" dirty="0">
              <a:solidFill>
                <a:srgbClr val="292929"/>
              </a:solidFill>
              <a:latin typeface="Times New Roman" panose="02020603050405020304" pitchFamily="18" charset="0"/>
              <a:ea typeface="Calibri" panose="020F0502020204030204" pitchFamily="34" charset="0"/>
              <a:cs typeface="Times New Roman" panose="02020603050405020304" pitchFamily="18" charset="0"/>
            </a:endParaRPr>
          </a:p>
          <a:p>
            <a:pPr marL="0" indent="0">
              <a:buNone/>
            </a:pPr>
            <a:endParaRPr lang="en-IN" sz="2400" i="1" cap="none" spc="-5" dirty="0">
              <a:solidFill>
                <a:srgbClr val="292929"/>
              </a:solidFill>
              <a:latin typeface="Times New Roman" panose="02020603050405020304" pitchFamily="18" charset="0"/>
              <a:ea typeface="Calibri" panose="020F0502020204030204" pitchFamily="34" charset="0"/>
              <a:cs typeface="Times New Roman" panose="02020603050405020304" pitchFamily="18" charset="0"/>
            </a:endParaRPr>
          </a:p>
          <a:p>
            <a:pPr>
              <a:buFont typeface="Wingdings" panose="05000000000000000000" pitchFamily="2" charset="2"/>
              <a:buChar char="Ø"/>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a:buFont typeface="Wingdings" panose="05000000000000000000" pitchFamily="2" charset="2"/>
              <a:buChar char="Ø"/>
            </a:pP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Overview of the Helpfulness </a:t>
            </a:r>
            <a:r>
              <a:rPr lang="en-IN" sz="1800" cap="none" dirty="0">
                <a:latin typeface="Times New Roman" panose="02020603050405020304" pitchFamily="18" charset="0"/>
                <a:ea typeface="Calibri" panose="020F0502020204030204" pitchFamily="34" charset="0"/>
                <a:cs typeface="Times New Roman" panose="02020603050405020304" pitchFamily="18" charset="0"/>
              </a:rPr>
              <a:t>D</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enominator:</a:t>
            </a:r>
          </a:p>
          <a:p>
            <a:pPr marL="0" indent="0">
              <a:buNone/>
            </a:pPr>
            <a:r>
              <a:rPr lang="en-IN" sz="1800" b="1" i="1" cap="none" spc="-5" dirty="0">
                <a:solidFill>
                  <a:srgbClr val="292929"/>
                </a:solidFill>
                <a:effectLst/>
                <a:latin typeface="Times New Roman" panose="02020603050405020304" pitchFamily="18" charset="0"/>
                <a:ea typeface="Calibri" panose="020F0502020204030204" pitchFamily="34" charset="0"/>
                <a:cs typeface="Times New Roman" panose="02020603050405020304" pitchFamily="18" charset="0"/>
              </a:rPr>
              <a:t>Helpfulness denominator: </a:t>
            </a:r>
            <a:r>
              <a:rPr lang="en-IN" sz="1800" i="1" cap="none" spc="-5" dirty="0">
                <a:solidFill>
                  <a:srgbClr val="292929"/>
                </a:solidFill>
                <a:effectLst/>
                <a:latin typeface="Times New Roman" panose="02020603050405020304" pitchFamily="18" charset="0"/>
                <a:ea typeface="Calibri" panose="020F0502020204030204" pitchFamily="34" charset="0"/>
                <a:cs typeface="Times New Roman" panose="02020603050405020304" pitchFamily="18" charset="0"/>
              </a:rPr>
              <a:t>number of peoples indicated whether they found the review helpful or not.</a:t>
            </a: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pPr marL="0" indent="0">
              <a:buNone/>
            </a:pP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pPr>
              <a:buFont typeface="Wingdings" panose="05000000000000000000" pitchFamily="2" charset="2"/>
              <a:buChar char="Ø"/>
            </a:pPr>
            <a:endParaRPr lang="en-IN" sz="2400" i="1" cap="none" spc="-5" dirty="0">
              <a:solidFill>
                <a:srgbClr val="292929"/>
              </a:solidFill>
              <a:latin typeface="Times New Roman" panose="02020603050405020304" pitchFamily="18" charset="0"/>
              <a:ea typeface="Calibri" panose="020F0502020204030204" pitchFamily="34" charset="0"/>
              <a:cs typeface="Times New Roman" panose="02020603050405020304" pitchFamily="18" charset="0"/>
            </a:endParaRPr>
          </a:p>
          <a:p>
            <a:pPr marL="0" indent="0">
              <a:buNone/>
            </a:pPr>
            <a:endParaRPr lang="en-IN" sz="2400" cap="none" dirty="0">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2B647875-6590-D525-C050-378E0B96DDC5}"/>
              </a:ext>
            </a:extLst>
          </p:cNvPr>
          <p:cNvPicPr>
            <a:picLocks noChangeAspect="1"/>
          </p:cNvPicPr>
          <p:nvPr/>
        </p:nvPicPr>
        <p:blipFill rotWithShape="1">
          <a:blip r:embed="rId2">
            <a:extLst>
              <a:ext uri="{28A0092B-C50C-407E-A947-70E740481C1C}">
                <a14:useLocalDpi xmlns:a14="http://schemas.microsoft.com/office/drawing/2010/main" val="0"/>
              </a:ext>
            </a:extLst>
          </a:blip>
          <a:srcRect l="7588" r="6316"/>
          <a:stretch/>
        </p:blipFill>
        <p:spPr bwMode="auto">
          <a:xfrm>
            <a:off x="3235104" y="1819078"/>
            <a:ext cx="5721792" cy="2064860"/>
          </a:xfrm>
          <a:prstGeom prst="rect">
            <a:avLst/>
          </a:prstGeom>
          <a:noFill/>
          <a:ln>
            <a:noFill/>
          </a:ln>
        </p:spPr>
      </p:pic>
      <p:pic>
        <p:nvPicPr>
          <p:cNvPr id="5" name="Picture 4">
            <a:extLst>
              <a:ext uri="{FF2B5EF4-FFF2-40B4-BE49-F238E27FC236}">
                <a16:creationId xmlns:a16="http://schemas.microsoft.com/office/drawing/2014/main" id="{C0733C0F-683F-333F-D53D-430E39B8C02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422"/>
          <a:stretch/>
        </p:blipFill>
        <p:spPr bwMode="auto">
          <a:xfrm>
            <a:off x="3766242" y="4805446"/>
            <a:ext cx="5948976" cy="1959611"/>
          </a:xfrm>
          <a:prstGeom prst="rect">
            <a:avLst/>
          </a:prstGeom>
          <a:noFill/>
          <a:ln>
            <a:noFill/>
          </a:ln>
        </p:spPr>
      </p:pic>
    </p:spTree>
    <p:extLst>
      <p:ext uri="{BB962C8B-B14F-4D97-AF65-F5344CB8AC3E}">
        <p14:creationId xmlns:p14="http://schemas.microsoft.com/office/powerpoint/2010/main" val="2020581443"/>
      </p:ext>
    </p:extLst>
  </p:cSld>
  <p:clrMapOvr>
    <a:masterClrMapping/>
  </p:clrMapOvr>
  <p:transition spd="slow">
    <p:cove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DEF75-406B-8B7E-C4CD-EC574EB2A289}"/>
              </a:ext>
            </a:extLst>
          </p:cNvPr>
          <p:cNvSpPr>
            <a:spLocks noGrp="1"/>
          </p:cNvSpPr>
          <p:nvPr>
            <p:ph type="title"/>
          </p:nvPr>
        </p:nvSpPr>
        <p:spPr>
          <a:xfrm>
            <a:off x="913776" y="618520"/>
            <a:ext cx="10666647" cy="992997"/>
          </a:xfrm>
          <a:solidFill>
            <a:schemeClr val="bg1">
              <a:lumMod val="20000"/>
              <a:lumOff val="80000"/>
            </a:schemeClr>
          </a:solidFill>
        </p:spPr>
        <p:txBody>
          <a:bodyPr>
            <a:normAutofit/>
          </a:bodyPr>
          <a:lstStyle/>
          <a:p>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Overview of the Score:</a:t>
            </a:r>
            <a:endParaRPr lang="en-IN" cap="none"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E68FFEDE-7D6A-AD7D-150A-59E1093FF1DB}"/>
              </a:ext>
            </a:extLst>
          </p:cNvPr>
          <p:cNvSpPr>
            <a:spLocks noGrp="1"/>
          </p:cNvSpPr>
          <p:nvPr>
            <p:ph sz="quarter" idx="13"/>
          </p:nvPr>
        </p:nvSpPr>
        <p:spPr>
          <a:xfrm>
            <a:off x="913774" y="2018923"/>
            <a:ext cx="5468920" cy="4084165"/>
          </a:xfrm>
          <a:solidFill>
            <a:schemeClr val="bg1">
              <a:lumMod val="20000"/>
              <a:lumOff val="80000"/>
            </a:schemeClr>
          </a:solidFill>
        </p:spPr>
        <p:txBody>
          <a:bodyPr>
            <a:normAutofit/>
          </a:bodyPr>
          <a:lstStyle/>
          <a:p>
            <a:pPr>
              <a:buFont typeface="Wingdings" panose="05000000000000000000" pitchFamily="2" charset="2"/>
              <a:buChar char="Ø"/>
            </a:pP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The dataset is that the reviews are higher scores, especially towards the highest score, which is 5. In the 568458 reviews, 52268 reviews are </a:t>
            </a:r>
            <a:r>
              <a:rPr lang="en-IN" sz="1800" cap="none" dirty="0" err="1">
                <a:effectLst/>
                <a:latin typeface="Times New Roman" panose="02020603050405020304" pitchFamily="18" charset="0"/>
                <a:ea typeface="Calibri" panose="020F0502020204030204" pitchFamily="34" charset="0"/>
                <a:cs typeface="Times New Roman" panose="02020603050405020304" pitchFamily="18" charset="0"/>
              </a:rPr>
              <a:t>labeled</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 with1, 29769 reviews are </a:t>
            </a:r>
            <a:r>
              <a:rPr lang="en-IN" sz="1800" cap="none" dirty="0" err="1">
                <a:effectLst/>
                <a:latin typeface="Times New Roman" panose="02020603050405020304" pitchFamily="18" charset="0"/>
                <a:ea typeface="Calibri" panose="020F0502020204030204" pitchFamily="34" charset="0"/>
                <a:cs typeface="Times New Roman" panose="02020603050405020304" pitchFamily="18" charset="0"/>
              </a:rPr>
              <a:t>labeled</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 with 2, 42640 are </a:t>
            </a:r>
            <a:r>
              <a:rPr lang="en-IN" sz="1800" cap="none" dirty="0" err="1">
                <a:effectLst/>
                <a:latin typeface="Times New Roman" panose="02020603050405020304" pitchFamily="18" charset="0"/>
                <a:ea typeface="Calibri" panose="020F0502020204030204" pitchFamily="34" charset="0"/>
                <a:cs typeface="Times New Roman" panose="02020603050405020304" pitchFamily="18" charset="0"/>
              </a:rPr>
              <a:t>labeled</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 with 3, while 80655 reviews are </a:t>
            </a:r>
            <a:r>
              <a:rPr lang="en-IN" sz="1800" cap="none" dirty="0" err="1">
                <a:effectLst/>
                <a:latin typeface="Times New Roman" panose="02020603050405020304" pitchFamily="18" charset="0"/>
                <a:ea typeface="Calibri" panose="020F0502020204030204" pitchFamily="34" charset="0"/>
                <a:cs typeface="Times New Roman" panose="02020603050405020304" pitchFamily="18" charset="0"/>
              </a:rPr>
              <a:t>labeled</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 with 4 and an even larger volume of 363122 reviews are </a:t>
            </a:r>
            <a:r>
              <a:rPr lang="en-IN" sz="1800" cap="none" dirty="0" err="1">
                <a:effectLst/>
                <a:latin typeface="Times New Roman" panose="02020603050405020304" pitchFamily="18" charset="0"/>
                <a:ea typeface="Calibri" panose="020F0502020204030204" pitchFamily="34" charset="0"/>
                <a:cs typeface="Times New Roman" panose="02020603050405020304" pitchFamily="18" charset="0"/>
              </a:rPr>
              <a:t>labeled</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 with 5. </a:t>
            </a:r>
          </a:p>
          <a:p>
            <a:pPr marL="0" indent="0">
              <a:buNone/>
            </a:pPr>
            <a:endParaRPr lang="en-IN" sz="1800" cap="none" dirty="0">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7784835A-036F-4506-349E-A1757070922E}"/>
              </a:ext>
            </a:extLst>
          </p:cNvPr>
          <p:cNvPicPr>
            <a:picLocks noChangeAspect="1"/>
          </p:cNvPicPr>
          <p:nvPr/>
        </p:nvPicPr>
        <p:blipFill rotWithShape="1">
          <a:blip r:embed="rId2">
            <a:extLst>
              <a:ext uri="{28A0092B-C50C-407E-A947-70E740481C1C}">
                <a14:useLocalDpi xmlns:a14="http://schemas.microsoft.com/office/drawing/2010/main" val="0"/>
              </a:ext>
            </a:extLst>
          </a:blip>
          <a:srcRect l="9364"/>
          <a:stretch/>
        </p:blipFill>
        <p:spPr bwMode="auto">
          <a:xfrm>
            <a:off x="1624784" y="4505175"/>
            <a:ext cx="4046899" cy="1301976"/>
          </a:xfrm>
          <a:prstGeom prst="rect">
            <a:avLst/>
          </a:prstGeom>
          <a:noFill/>
          <a:ln>
            <a:noFill/>
          </a:ln>
        </p:spPr>
      </p:pic>
      <p:pic>
        <p:nvPicPr>
          <p:cNvPr id="9" name="Picture 8">
            <a:extLst>
              <a:ext uri="{FF2B5EF4-FFF2-40B4-BE49-F238E27FC236}">
                <a16:creationId xmlns:a16="http://schemas.microsoft.com/office/drawing/2014/main" id="{F088DC55-0222-073A-9509-B32AC8E14DBF}"/>
              </a:ext>
            </a:extLst>
          </p:cNvPr>
          <p:cNvPicPr>
            <a:picLocks noChangeAspect="1"/>
          </p:cNvPicPr>
          <p:nvPr/>
        </p:nvPicPr>
        <p:blipFill>
          <a:blip r:embed="rId3"/>
          <a:stretch>
            <a:fillRect/>
          </a:stretch>
        </p:blipFill>
        <p:spPr>
          <a:xfrm>
            <a:off x="6573443" y="2034872"/>
            <a:ext cx="4909720" cy="406821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224355700"/>
      </p:ext>
    </p:extLst>
  </p:cSld>
  <p:clrMapOvr>
    <a:masterClrMapping/>
  </p:clrMapOvr>
  <p:transition spd="slow">
    <p:cove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5B9B40-50C0-89E3-35DC-6B4D3DCFD9C2}"/>
              </a:ext>
            </a:extLst>
          </p:cNvPr>
          <p:cNvSpPr>
            <a:spLocks noGrp="1"/>
          </p:cNvSpPr>
          <p:nvPr>
            <p:ph type="title"/>
          </p:nvPr>
        </p:nvSpPr>
        <p:spPr/>
        <p:txBody>
          <a:bodyPr>
            <a:normAutofit fontScale="90000"/>
          </a:bodyPr>
          <a:lstStyle/>
          <a:p>
            <a:br>
              <a:rPr lang="en-IN" sz="7200" u="sng" dirty="0">
                <a:effectLst/>
                <a:latin typeface="Algerian" panose="04020705040A02060702" pitchFamily="82" charset="0"/>
                <a:ea typeface="Calibri" panose="020F0502020204030204" pitchFamily="34" charset="0"/>
                <a:cs typeface="Times New Roman" panose="02020603050405020304" pitchFamily="18" charset="0"/>
              </a:rPr>
            </a:br>
            <a:r>
              <a:rPr lang="en-IN" sz="7200" u="sng" dirty="0">
                <a:effectLst/>
                <a:latin typeface="Algerian" panose="04020705040A02060702" pitchFamily="82" charset="0"/>
                <a:ea typeface="Calibri" panose="020F0502020204030204" pitchFamily="34" charset="0"/>
                <a:cs typeface="Times New Roman" panose="02020603050405020304" pitchFamily="18" charset="0"/>
              </a:rPr>
              <a:t>Methodology</a:t>
            </a:r>
            <a:br>
              <a:rPr lang="en-IN" sz="7200" dirty="0">
                <a:effectLst/>
                <a:latin typeface="Algerian" panose="04020705040A02060702" pitchFamily="82" charset="0"/>
                <a:ea typeface="Calibri" panose="020F0502020204030204" pitchFamily="34" charset="0"/>
                <a:cs typeface="Times New Roman" panose="02020603050405020304" pitchFamily="18" charset="0"/>
              </a:rPr>
            </a:br>
            <a:endParaRPr lang="en-IN" sz="7200" dirty="0">
              <a:latin typeface="Algerian" panose="04020705040A02060702" pitchFamily="82" charset="0"/>
            </a:endParaRPr>
          </a:p>
        </p:txBody>
      </p:sp>
      <p:graphicFrame>
        <p:nvGraphicFramePr>
          <p:cNvPr id="6" name="Diagram 5">
            <a:extLst>
              <a:ext uri="{FF2B5EF4-FFF2-40B4-BE49-F238E27FC236}">
                <a16:creationId xmlns:a16="http://schemas.microsoft.com/office/drawing/2014/main" id="{E698AA85-6AE5-E7AE-DB9A-1D44674088DC}"/>
              </a:ext>
            </a:extLst>
          </p:cNvPr>
          <p:cNvGraphicFramePr/>
          <p:nvPr>
            <p:extLst>
              <p:ext uri="{D42A27DB-BD31-4B8C-83A1-F6EECF244321}">
                <p14:modId xmlns:p14="http://schemas.microsoft.com/office/powerpoint/2010/main" val="3791377884"/>
              </p:ext>
            </p:extLst>
          </p:nvPr>
        </p:nvGraphicFramePr>
        <p:xfrm>
          <a:off x="2762251" y="2860895"/>
          <a:ext cx="6979278" cy="35589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4117319"/>
      </p:ext>
    </p:extLst>
  </p:cSld>
  <p:clrMapOvr>
    <a:masterClrMapping/>
  </p:clrMapOvr>
  <p:transition spd="slow">
    <p:cove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232A6-453E-330A-F1B5-B8CCD562015B}"/>
              </a:ext>
            </a:extLst>
          </p:cNvPr>
          <p:cNvSpPr>
            <a:spLocks noGrp="1"/>
          </p:cNvSpPr>
          <p:nvPr>
            <p:ph type="title"/>
          </p:nvPr>
        </p:nvSpPr>
        <p:spPr>
          <a:xfrm>
            <a:off x="1030734" y="1616149"/>
            <a:ext cx="10364451" cy="2753832"/>
          </a:xfrm>
        </p:spPr>
        <p:style>
          <a:lnRef idx="1">
            <a:schemeClr val="accent5"/>
          </a:lnRef>
          <a:fillRef idx="2">
            <a:schemeClr val="accent5"/>
          </a:fillRef>
          <a:effectRef idx="1">
            <a:schemeClr val="accent5"/>
          </a:effectRef>
          <a:fontRef idx="minor">
            <a:schemeClr val="dk1"/>
          </a:fontRef>
        </p:style>
        <p:txBody>
          <a:bodyPr>
            <a:normAutofit/>
          </a:bodyPr>
          <a:lstStyle/>
          <a:p>
            <a:r>
              <a:rPr lang="en-IN" sz="4000" b="1" u="sng" kern="1200" baseline="0" dirty="0">
                <a:solidFill>
                  <a:srgbClr val="3F0040"/>
                </a:solidFill>
                <a:effectLst/>
                <a:latin typeface="Times New Roman" panose="02020603050405020304" pitchFamily="18" charset="0"/>
                <a:ea typeface="+mn-ea"/>
                <a:cs typeface="Times New Roman" panose="02020603050405020304" pitchFamily="18" charset="0"/>
              </a:rPr>
              <a:t>Exploratory data analysis:</a:t>
            </a:r>
            <a:endParaRPr lang="en-IN" sz="4000" b="1" u="sng" dirty="0"/>
          </a:p>
        </p:txBody>
      </p:sp>
    </p:spTree>
    <p:extLst>
      <p:ext uri="{BB962C8B-B14F-4D97-AF65-F5344CB8AC3E}">
        <p14:creationId xmlns:p14="http://schemas.microsoft.com/office/powerpoint/2010/main" val="2230281132"/>
      </p:ext>
    </p:extLst>
  </p:cSld>
  <p:clrMapOvr>
    <a:masterClrMapping/>
  </p:clrMapOvr>
  <p:transition spd="slow">
    <p:cove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F35FE-0CA4-BA0B-E32D-AC3E191D56AC}"/>
              </a:ext>
            </a:extLst>
          </p:cNvPr>
          <p:cNvSpPr>
            <a:spLocks noGrp="1"/>
          </p:cNvSpPr>
          <p:nvPr>
            <p:ph type="title"/>
          </p:nvPr>
        </p:nvSpPr>
        <p:spPr>
          <a:xfrm>
            <a:off x="913775" y="329609"/>
            <a:ext cx="10728876" cy="1509824"/>
          </a:xfrm>
          <a:solidFill>
            <a:srgbClr val="FFFFFF"/>
          </a:solidFill>
        </p:spPr>
        <p:txBody>
          <a:bodyPr>
            <a:normAutofit fontScale="90000"/>
          </a:bodyPr>
          <a:lstStyle/>
          <a:p>
            <a:pPr algn="l"/>
            <a:r>
              <a:rPr lang="en-US" sz="2800" b="1" u="sng" dirty="0">
                <a:effectLst>
                  <a:outerShdw blurRad="38100" dist="38100" dir="2700000" algn="tl">
                    <a:srgbClr val="000000">
                      <a:alpha val="43137"/>
                    </a:srgbClr>
                  </a:outerShdw>
                </a:effectLst>
                <a:latin typeface="Sitka Small Semibold" pitchFamily="2" charset="0"/>
              </a:rPr>
              <a:t>Data </a:t>
            </a:r>
            <a:r>
              <a:rPr lang="en-US" sz="2800" b="1" u="sng" dirty="0" err="1">
                <a:effectLst>
                  <a:outerShdw blurRad="38100" dist="38100" dir="2700000" algn="tl">
                    <a:srgbClr val="000000">
                      <a:alpha val="43137"/>
                    </a:srgbClr>
                  </a:outerShdw>
                </a:effectLst>
                <a:latin typeface="Sitka Small Semibold" pitchFamily="2" charset="0"/>
              </a:rPr>
              <a:t>Cleaning:</a:t>
            </a:r>
            <a:r>
              <a:rPr lang="en-US" sz="1800" cap="none" dirty="0" err="1">
                <a:latin typeface="Sitka Small Semibold" pitchFamily="2" charset="0"/>
              </a:rPr>
              <a:t>Data</a:t>
            </a:r>
            <a:r>
              <a:rPr lang="en-US" sz="1800" cap="none" dirty="0">
                <a:latin typeface="Sitka Small Semibold" pitchFamily="2" charset="0"/>
              </a:rPr>
              <a:t> cleaning is the process of preparing data for analysis by removing or modifying data that is incorrect, incomplete, irrelevant, duplicated, or improperly formatted.</a:t>
            </a:r>
            <a:br>
              <a:rPr lang="en-US" sz="1800" cap="none" dirty="0">
                <a:latin typeface="Sitka Small Semibold" pitchFamily="2" charset="0"/>
              </a:rPr>
            </a:br>
            <a:r>
              <a:rPr lang="en-US" sz="1800" cap="none" dirty="0">
                <a:latin typeface="Sitka Small Semibold" pitchFamily="2" charset="0"/>
              </a:rPr>
              <a:t>This data is usually not necessary or helpful when it comes to analyzing data because it may hinder the process or provide inaccurate results. There are several methods for cleaning data depending on how it is stored along with the answers being sought. </a:t>
            </a:r>
            <a:endParaRPr lang="en-IN" sz="1800" b="1" u="sng" dirty="0">
              <a:effectLst>
                <a:outerShdw blurRad="38100" dist="38100" dir="2700000" algn="tl">
                  <a:srgbClr val="000000">
                    <a:alpha val="43137"/>
                  </a:srgbClr>
                </a:outerShdw>
              </a:effectLst>
              <a:latin typeface="Sitka Small Semibold" pitchFamily="2" charset="0"/>
            </a:endParaRPr>
          </a:p>
        </p:txBody>
      </p:sp>
      <p:pic>
        <p:nvPicPr>
          <p:cNvPr id="4" name="Picture 3">
            <a:extLst>
              <a:ext uri="{FF2B5EF4-FFF2-40B4-BE49-F238E27FC236}">
                <a16:creationId xmlns:a16="http://schemas.microsoft.com/office/drawing/2014/main" id="{DA71FA83-70C8-8894-BC43-5CF83F26FF84}"/>
              </a:ext>
            </a:extLst>
          </p:cNvPr>
          <p:cNvPicPr>
            <a:picLocks noChangeAspect="1"/>
          </p:cNvPicPr>
          <p:nvPr/>
        </p:nvPicPr>
        <p:blipFill>
          <a:blip r:embed="rId2"/>
          <a:stretch>
            <a:fillRect/>
          </a:stretch>
        </p:blipFill>
        <p:spPr>
          <a:xfrm>
            <a:off x="913775" y="2029854"/>
            <a:ext cx="3381847" cy="4588761"/>
          </a:xfrm>
          <a:prstGeom prst="rect">
            <a:avLst/>
          </a:prstGeom>
        </p:spPr>
      </p:pic>
      <p:pic>
        <p:nvPicPr>
          <p:cNvPr id="6" name="Picture 5">
            <a:extLst>
              <a:ext uri="{FF2B5EF4-FFF2-40B4-BE49-F238E27FC236}">
                <a16:creationId xmlns:a16="http://schemas.microsoft.com/office/drawing/2014/main" id="{EC25E2C4-988F-6686-5492-F4C7568E7E50}"/>
              </a:ext>
            </a:extLst>
          </p:cNvPr>
          <p:cNvPicPr>
            <a:picLocks noChangeAspect="1"/>
          </p:cNvPicPr>
          <p:nvPr/>
        </p:nvPicPr>
        <p:blipFill>
          <a:blip r:embed="rId3"/>
          <a:stretch>
            <a:fillRect/>
          </a:stretch>
        </p:blipFill>
        <p:spPr>
          <a:xfrm>
            <a:off x="4433776" y="2056436"/>
            <a:ext cx="6665576" cy="1696857"/>
          </a:xfrm>
          <a:prstGeom prst="rect">
            <a:avLst/>
          </a:prstGeom>
        </p:spPr>
      </p:pic>
      <p:pic>
        <p:nvPicPr>
          <p:cNvPr id="8" name="Picture 7">
            <a:extLst>
              <a:ext uri="{FF2B5EF4-FFF2-40B4-BE49-F238E27FC236}">
                <a16:creationId xmlns:a16="http://schemas.microsoft.com/office/drawing/2014/main" id="{20C1BECD-8EE3-E08C-8D0A-40196170F092}"/>
              </a:ext>
            </a:extLst>
          </p:cNvPr>
          <p:cNvPicPr>
            <a:picLocks noChangeAspect="1"/>
          </p:cNvPicPr>
          <p:nvPr/>
        </p:nvPicPr>
        <p:blipFill>
          <a:blip r:embed="rId4"/>
          <a:stretch>
            <a:fillRect/>
          </a:stretch>
        </p:blipFill>
        <p:spPr>
          <a:xfrm>
            <a:off x="4589980" y="3970296"/>
            <a:ext cx="6509372" cy="2648320"/>
          </a:xfrm>
          <a:prstGeom prst="rect">
            <a:avLst/>
          </a:prstGeom>
        </p:spPr>
      </p:pic>
    </p:spTree>
    <p:extLst>
      <p:ext uri="{BB962C8B-B14F-4D97-AF65-F5344CB8AC3E}">
        <p14:creationId xmlns:p14="http://schemas.microsoft.com/office/powerpoint/2010/main" val="3150278300"/>
      </p:ext>
    </p:extLst>
  </p:cSld>
  <p:clrMapOvr>
    <a:masterClrMapping/>
  </p:clrMapOvr>
  <p:transition spd="slow">
    <p:cove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8078C3-0DA2-813D-765E-8E65F5086910}"/>
              </a:ext>
            </a:extLst>
          </p:cNvPr>
          <p:cNvSpPr>
            <a:spLocks noGrp="1"/>
          </p:cNvSpPr>
          <p:nvPr>
            <p:ph type="title"/>
          </p:nvPr>
        </p:nvSpPr>
        <p:spPr>
          <a:xfrm>
            <a:off x="913776" y="618520"/>
            <a:ext cx="10364451" cy="902462"/>
          </a:xfrm>
          <a:solidFill>
            <a:schemeClr val="bg1">
              <a:lumMod val="20000"/>
              <a:lumOff val="80000"/>
            </a:schemeClr>
          </a:solidFill>
        </p:spPr>
        <p:txBody>
          <a:bodyPr>
            <a:normAutofit fontScale="90000"/>
          </a:bodyPr>
          <a:lstStyle/>
          <a:p>
            <a:br>
              <a:rPr lang="en-IN" sz="2800" cap="none" dirty="0">
                <a:effectLst/>
                <a:latin typeface="Times New Roman" panose="02020603050405020304" pitchFamily="18" charset="0"/>
                <a:ea typeface="Calibri" panose="020F0502020204030204" pitchFamily="34" charset="0"/>
                <a:cs typeface="Times New Roman" panose="02020603050405020304" pitchFamily="18" charset="0"/>
              </a:rPr>
            </a:br>
            <a:r>
              <a:rPr lang="en-IN" sz="2800" cap="none" dirty="0">
                <a:effectLst/>
                <a:latin typeface="Times New Roman" panose="02020603050405020304" pitchFamily="18" charset="0"/>
                <a:ea typeface="Calibri" panose="020F0502020204030204" pitchFamily="34" charset="0"/>
                <a:cs typeface="Times New Roman" panose="02020603050405020304" pitchFamily="18" charset="0"/>
              </a:rPr>
              <a:t>Text </a:t>
            </a:r>
            <a:r>
              <a:rPr lang="en-IN" sz="2800" cap="none" dirty="0" err="1">
                <a:latin typeface="Times New Roman" panose="02020603050405020304" pitchFamily="18" charset="0"/>
                <a:ea typeface="Calibri" panose="020F0502020204030204" pitchFamily="34" charset="0"/>
                <a:cs typeface="Times New Roman" panose="02020603050405020304" pitchFamily="18" charset="0"/>
              </a:rPr>
              <a:t>P</a:t>
            </a:r>
            <a:r>
              <a:rPr lang="en-IN" sz="2800" cap="none" dirty="0" err="1">
                <a:effectLst/>
                <a:latin typeface="Times New Roman" panose="02020603050405020304" pitchFamily="18" charset="0"/>
                <a:ea typeface="Calibri" panose="020F0502020204030204" pitchFamily="34" charset="0"/>
                <a:cs typeface="Times New Roman" panose="02020603050405020304" pitchFamily="18" charset="0"/>
              </a:rPr>
              <a:t>reprocessing</a:t>
            </a:r>
            <a:br>
              <a:rPr lang="en-IN" sz="2800" cap="none" dirty="0">
                <a:effectLst/>
                <a:latin typeface="Times New Roman" panose="02020603050405020304" pitchFamily="18" charset="0"/>
                <a:ea typeface="Calibri" panose="020F0502020204030204" pitchFamily="34" charset="0"/>
                <a:cs typeface="Times New Roman" panose="02020603050405020304" pitchFamily="18" charset="0"/>
              </a:rPr>
            </a:br>
            <a:endParaRPr lang="en-IN" sz="2800" cap="none" dirty="0">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1F671173-5E86-3D18-4066-DB8AA874D5DB}"/>
              </a:ext>
            </a:extLst>
          </p:cNvPr>
          <p:cNvSpPr>
            <a:spLocks noGrp="1"/>
          </p:cNvSpPr>
          <p:nvPr>
            <p:ph sz="quarter" idx="13"/>
          </p:nvPr>
        </p:nvSpPr>
        <p:spPr>
          <a:xfrm>
            <a:off x="913773" y="1828800"/>
            <a:ext cx="10330631" cy="5029200"/>
          </a:xfrm>
          <a:solidFill>
            <a:schemeClr val="bg1">
              <a:lumMod val="20000"/>
              <a:lumOff val="80000"/>
            </a:schemeClr>
          </a:solidFill>
        </p:spPr>
        <p:txBody>
          <a:bodyPr/>
          <a:lstStyle/>
          <a:p>
            <a:r>
              <a:rPr lang="en-US" b="0" i="0" cap="none" dirty="0">
                <a:solidFill>
                  <a:srgbClr val="222222"/>
                </a:solidFill>
                <a:effectLst/>
                <a:latin typeface="Times New Roman" panose="02020603050405020304" pitchFamily="18" charset="0"/>
                <a:cs typeface="Times New Roman" panose="02020603050405020304" pitchFamily="18" charset="0"/>
              </a:rPr>
              <a:t>Text preprocessing is an essential step in </a:t>
            </a:r>
            <a:r>
              <a:rPr lang="en-US" cap="none" dirty="0">
                <a:solidFill>
                  <a:schemeClr val="bg2">
                    <a:lumMod val="10000"/>
                  </a:schemeClr>
                </a:solidFill>
                <a:latin typeface="Times New Roman" panose="02020603050405020304" pitchFamily="18" charset="0"/>
                <a:cs typeface="Times New Roman" panose="02020603050405020304" pitchFamily="18" charset="0"/>
              </a:rPr>
              <a:t>Natural language processing</a:t>
            </a:r>
            <a:r>
              <a:rPr lang="en-US" b="0" i="0" cap="none" dirty="0">
                <a:solidFill>
                  <a:schemeClr val="bg2">
                    <a:lumMod val="10000"/>
                  </a:schemeClr>
                </a:solidFill>
                <a:effectLst/>
                <a:latin typeface="Times New Roman" panose="02020603050405020304" pitchFamily="18" charset="0"/>
                <a:cs typeface="Times New Roman" panose="02020603050405020304" pitchFamily="18" charset="0"/>
              </a:rPr>
              <a:t> </a:t>
            </a:r>
            <a:r>
              <a:rPr lang="en-US" b="0" i="0" cap="none" dirty="0">
                <a:solidFill>
                  <a:srgbClr val="222222"/>
                </a:solidFill>
                <a:effectLst/>
                <a:latin typeface="Times New Roman" panose="02020603050405020304" pitchFamily="18" charset="0"/>
                <a:cs typeface="Times New Roman" panose="02020603050405020304" pitchFamily="18" charset="0"/>
              </a:rPr>
              <a:t>(NLP) that involves cleaning and transforming unstructured text data to prepare it for analysis. It includes </a:t>
            </a:r>
            <a:r>
              <a:rPr lang="en-US" cap="none" dirty="0">
                <a:solidFill>
                  <a:schemeClr val="bg2">
                    <a:lumMod val="10000"/>
                  </a:schemeClr>
                </a:solidFill>
                <a:latin typeface="Times New Roman" panose="02020603050405020304" pitchFamily="18" charset="0"/>
                <a:cs typeface="Times New Roman" panose="02020603050405020304" pitchFamily="18" charset="0"/>
              </a:rPr>
              <a:t>tokenization</a:t>
            </a:r>
            <a:r>
              <a:rPr lang="en-US" b="0" i="0" cap="none" dirty="0">
                <a:solidFill>
                  <a:schemeClr val="bg2">
                    <a:lumMod val="10000"/>
                  </a:schemeClr>
                </a:solidFill>
                <a:effectLst/>
                <a:latin typeface="Times New Roman" panose="02020603050405020304" pitchFamily="18" charset="0"/>
                <a:cs typeface="Times New Roman" panose="02020603050405020304" pitchFamily="18" charset="0"/>
              </a:rPr>
              <a:t>, </a:t>
            </a:r>
            <a:r>
              <a:rPr lang="en-US" cap="none" dirty="0">
                <a:solidFill>
                  <a:schemeClr val="bg2">
                    <a:lumMod val="10000"/>
                  </a:schemeClr>
                </a:solidFill>
                <a:latin typeface="Times New Roman" panose="02020603050405020304" pitchFamily="18" charset="0"/>
                <a:cs typeface="Times New Roman" panose="02020603050405020304" pitchFamily="18" charset="0"/>
              </a:rPr>
              <a:t>stemming</a:t>
            </a:r>
            <a:r>
              <a:rPr lang="en-US" b="0" i="0" cap="none" dirty="0">
                <a:solidFill>
                  <a:srgbClr val="222222"/>
                </a:solidFill>
                <a:effectLst/>
                <a:latin typeface="Times New Roman" panose="02020603050405020304" pitchFamily="18" charset="0"/>
                <a:cs typeface="Times New Roman" panose="02020603050405020304" pitchFamily="18" charset="0"/>
              </a:rPr>
              <a:t>, lemmatization, stop-word removal, and part-of-speech tagging.</a:t>
            </a:r>
          </a:p>
          <a:p>
            <a:pPr algn="just">
              <a:lnSpc>
                <a:spcPct val="107000"/>
              </a:lnSpc>
              <a:spcAft>
                <a:spcPts val="800"/>
              </a:spcAft>
              <a:tabLst>
                <a:tab pos="4333875" algn="l"/>
              </a:tabLst>
            </a:pPr>
            <a:r>
              <a:rPr lang="en-IN" sz="1800" cap="none"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Tokenization : Tokenization is basically the process of splitting the sentences into words. Each word is then considered as a separate token</a:t>
            </a:r>
            <a:r>
              <a:rPr lang="en-US" b="0" i="0" cap="none" dirty="0">
                <a:solidFill>
                  <a:schemeClr val="bg2">
                    <a:lumMod val="10000"/>
                  </a:schemeClr>
                </a:solidFill>
                <a:effectLst/>
                <a:latin typeface="Times New Roman" panose="02020603050405020304" pitchFamily="18" charset="0"/>
                <a:cs typeface="Times New Roman" panose="02020603050405020304" pitchFamily="18" charset="0"/>
              </a:rPr>
              <a:t> </a:t>
            </a:r>
            <a:endParaRPr lang="en-US" cap="none" dirty="0">
              <a:solidFill>
                <a:schemeClr val="bg2">
                  <a:lumMod val="10000"/>
                </a:schemeClr>
              </a:solidFill>
              <a:latin typeface="Times New Roman" panose="02020603050405020304" pitchFamily="18" charset="0"/>
              <a:cs typeface="Times New Roman" panose="02020603050405020304" pitchFamily="18" charset="0"/>
            </a:endParaRPr>
          </a:p>
          <a:p>
            <a:pPr algn="just">
              <a:lnSpc>
                <a:spcPct val="107000"/>
              </a:lnSpc>
              <a:spcAft>
                <a:spcPts val="800"/>
              </a:spcAft>
              <a:tabLst>
                <a:tab pos="4333875" algn="l"/>
              </a:tabLst>
            </a:pPr>
            <a:endParaRPr lang="en-US" b="0" i="0" cap="none" dirty="0">
              <a:solidFill>
                <a:schemeClr val="bg2">
                  <a:lumMod val="10000"/>
                </a:schemeClr>
              </a:solidFill>
              <a:effectLst/>
              <a:latin typeface="Times New Roman" panose="02020603050405020304" pitchFamily="18" charset="0"/>
              <a:cs typeface="Times New Roman" panose="02020603050405020304" pitchFamily="18" charset="0"/>
            </a:endParaRPr>
          </a:p>
          <a:p>
            <a:pPr algn="just">
              <a:lnSpc>
                <a:spcPct val="107000"/>
              </a:lnSpc>
              <a:spcAft>
                <a:spcPts val="800"/>
              </a:spcAft>
              <a:tabLst>
                <a:tab pos="4333875" algn="l"/>
              </a:tabLst>
            </a:pPr>
            <a:endParaRPr lang="en-US" b="0" i="0" cap="none" dirty="0">
              <a:solidFill>
                <a:schemeClr val="bg2">
                  <a:lumMod val="10000"/>
                </a:schemeClr>
              </a:solidFill>
              <a:effectLst/>
              <a:latin typeface="Times New Roman" panose="02020603050405020304" pitchFamily="18" charset="0"/>
              <a:cs typeface="Times New Roman" panose="02020603050405020304" pitchFamily="18" charset="0"/>
            </a:endParaRPr>
          </a:p>
          <a:p>
            <a:pPr algn="just">
              <a:lnSpc>
                <a:spcPct val="107000"/>
              </a:lnSpc>
              <a:spcAft>
                <a:spcPts val="800"/>
              </a:spcAft>
              <a:tabLst>
                <a:tab pos="4333875" algn="l"/>
              </a:tabLst>
            </a:pPr>
            <a:r>
              <a:rPr lang="en-US" sz="1800" b="1" i="0" cap="none" dirty="0">
                <a:solidFill>
                  <a:srgbClr val="FF0000"/>
                </a:solidFill>
                <a:effectLst/>
                <a:latin typeface="Times New Roman" panose="02020603050405020304" pitchFamily="18" charset="0"/>
                <a:cs typeface="Times New Roman" panose="02020603050405020304" pitchFamily="18" charset="0"/>
              </a:rPr>
              <a:t>Lower casing</a:t>
            </a:r>
            <a:r>
              <a:rPr lang="en-US" sz="1800" b="1" i="0" cap="none" dirty="0">
                <a:solidFill>
                  <a:srgbClr val="292929"/>
                </a:solidFill>
                <a:effectLst/>
                <a:latin typeface="Times New Roman" panose="02020603050405020304" pitchFamily="18" charset="0"/>
                <a:cs typeface="Times New Roman" panose="02020603050405020304" pitchFamily="18" charset="0"/>
              </a:rPr>
              <a:t>:</a:t>
            </a:r>
            <a:r>
              <a:rPr lang="en-US" sz="1800" b="0" i="0" cap="none" dirty="0">
                <a:solidFill>
                  <a:srgbClr val="292929"/>
                </a:solidFill>
                <a:effectLst/>
                <a:latin typeface="Times New Roman" panose="02020603050405020304" pitchFamily="18" charset="0"/>
                <a:cs typeface="Times New Roman" panose="02020603050405020304" pitchFamily="18" charset="0"/>
              </a:rPr>
              <a:t> converting a word to lower case (NLP -&gt; </a:t>
            </a:r>
            <a:r>
              <a:rPr lang="en-US" sz="1800" b="0" i="0" cap="none" dirty="0" err="1">
                <a:solidFill>
                  <a:srgbClr val="292929"/>
                </a:solidFill>
                <a:effectLst/>
                <a:latin typeface="Times New Roman" panose="02020603050405020304" pitchFamily="18" charset="0"/>
                <a:cs typeface="Times New Roman" panose="02020603050405020304" pitchFamily="18" charset="0"/>
              </a:rPr>
              <a:t>nlp</a:t>
            </a:r>
            <a:r>
              <a:rPr lang="en-US" sz="1800" b="0" i="0" cap="none" dirty="0">
                <a:solidFill>
                  <a:srgbClr val="292929"/>
                </a:solidFill>
                <a:effectLst/>
                <a:latin typeface="Times New Roman" panose="02020603050405020304" pitchFamily="18" charset="0"/>
                <a:cs typeface="Times New Roman" panose="02020603050405020304" pitchFamily="18" charset="0"/>
              </a:rPr>
              <a:t>).</a:t>
            </a:r>
          </a:p>
          <a:p>
            <a:pPr algn="just">
              <a:lnSpc>
                <a:spcPct val="107000"/>
              </a:lnSpc>
              <a:spcAft>
                <a:spcPts val="800"/>
              </a:spcAft>
              <a:tabLst>
                <a:tab pos="4333875" algn="l"/>
              </a:tabLst>
            </a:pPr>
            <a:endParaRPr lang="en-IN" sz="1800" cap="none" dirty="0">
              <a:latin typeface="Times New Roman" panose="02020603050405020304" pitchFamily="18" charset="0"/>
              <a:cs typeface="Times New Roman" panose="02020603050405020304" pitchFamily="18" charset="0"/>
            </a:endParaRPr>
          </a:p>
        </p:txBody>
      </p:sp>
      <p:pic>
        <p:nvPicPr>
          <p:cNvPr id="6" name="Picture 5">
            <a:extLst>
              <a:ext uri="{FF2B5EF4-FFF2-40B4-BE49-F238E27FC236}">
                <a16:creationId xmlns:a16="http://schemas.microsoft.com/office/drawing/2014/main" id="{DE5707C3-33E2-0DB3-70F3-0269EFEF97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4967" y="5441132"/>
            <a:ext cx="7351415" cy="1213163"/>
          </a:xfrm>
          <a:prstGeom prst="rect">
            <a:avLst/>
          </a:prstGeom>
        </p:spPr>
      </p:pic>
      <p:pic>
        <p:nvPicPr>
          <p:cNvPr id="2" name="Picture 1">
            <a:extLst>
              <a:ext uri="{FF2B5EF4-FFF2-40B4-BE49-F238E27FC236}">
                <a16:creationId xmlns:a16="http://schemas.microsoft.com/office/drawing/2014/main" id="{0600D33E-0B24-A6CC-F240-F43FCDED755C}"/>
              </a:ext>
            </a:extLst>
          </p:cNvPr>
          <p:cNvPicPr>
            <a:picLocks noChangeAspect="1"/>
          </p:cNvPicPr>
          <p:nvPr/>
        </p:nvPicPr>
        <p:blipFill rotWithShape="1">
          <a:blip r:embed="rId3">
            <a:extLst>
              <a:ext uri="{28A0092B-C50C-407E-A947-70E740481C1C}">
                <a14:useLocalDpi xmlns:a14="http://schemas.microsoft.com/office/drawing/2010/main" val="0"/>
              </a:ext>
            </a:extLst>
          </a:blip>
          <a:srcRect l="458" r="36339" b="6598"/>
          <a:stretch/>
        </p:blipFill>
        <p:spPr>
          <a:xfrm>
            <a:off x="2357813" y="3711921"/>
            <a:ext cx="7705725" cy="1213164"/>
          </a:xfrm>
          <a:prstGeom prst="rect">
            <a:avLst/>
          </a:prstGeom>
        </p:spPr>
      </p:pic>
    </p:spTree>
    <p:extLst>
      <p:ext uri="{BB962C8B-B14F-4D97-AF65-F5344CB8AC3E}">
        <p14:creationId xmlns:p14="http://schemas.microsoft.com/office/powerpoint/2010/main" val="1988283345"/>
      </p:ext>
    </p:extLst>
  </p:cSld>
  <p:clrMapOvr>
    <a:masterClrMapping/>
  </p:clrMapOvr>
  <p:transition spd="slow">
    <p:cove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5">
            <a:extLst>
              <a:ext uri="{FF2B5EF4-FFF2-40B4-BE49-F238E27FC236}">
                <a16:creationId xmlns:a16="http://schemas.microsoft.com/office/drawing/2014/main" id="{FD73BF65-A289-B57D-9BF6-C9188D09A5C3}"/>
              </a:ext>
            </a:extLst>
          </p:cNvPr>
          <p:cNvSpPr>
            <a:spLocks noGrp="1"/>
          </p:cNvSpPr>
          <p:nvPr>
            <p:ph sz="quarter" idx="13"/>
          </p:nvPr>
        </p:nvSpPr>
        <p:spPr>
          <a:xfrm>
            <a:off x="679011" y="697116"/>
            <a:ext cx="10918478" cy="5776111"/>
          </a:xfrm>
          <a:solidFill>
            <a:schemeClr val="bg1">
              <a:lumMod val="20000"/>
              <a:lumOff val="80000"/>
            </a:schemeClr>
          </a:solidFill>
        </p:spPr>
        <p:txBody>
          <a:bodyPr/>
          <a:lstStyle/>
          <a:p>
            <a:pPr>
              <a:buFont typeface="Wingdings" panose="05000000000000000000" pitchFamily="2" charset="2"/>
              <a:buChar char="Ø"/>
            </a:pPr>
            <a:r>
              <a:rPr lang="en-IN" cap="none"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Stop words removal</a:t>
            </a:r>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a:t>
            </a:r>
            <a:r>
              <a:rPr lang="en-US" sz="1800" b="0" i="0" cap="none" dirty="0">
                <a:solidFill>
                  <a:srgbClr val="292929"/>
                </a:solidFill>
                <a:effectLst/>
                <a:latin typeface="Times New Roman" panose="02020603050405020304" pitchFamily="18" charset="0"/>
                <a:cs typeface="Times New Roman" panose="02020603050405020304" pitchFamily="18" charset="0"/>
              </a:rPr>
              <a:t>Stop words are very commonly used words (a, an, the, etc.) These words do not really signify any importance as they do not help in distinguishing two documents.</a:t>
            </a:r>
          </a:p>
          <a:p>
            <a:pPr>
              <a:buFont typeface="Wingdings" panose="05000000000000000000" pitchFamily="2" charset="2"/>
              <a:buChar char="Ø"/>
            </a:pPr>
            <a:endParaRPr lang="en-US" sz="1800" cap="none" dirty="0">
              <a:solidFill>
                <a:srgbClr val="292929"/>
              </a:solidFill>
              <a:latin typeface="Times New Roman" panose="02020603050405020304" pitchFamily="18" charset="0"/>
              <a:cs typeface="Times New Roman" panose="02020603050405020304" pitchFamily="18" charset="0"/>
            </a:endParaRPr>
          </a:p>
          <a:p>
            <a:pPr>
              <a:buFont typeface="Wingdings" panose="05000000000000000000" pitchFamily="2" charset="2"/>
              <a:buChar char="Ø"/>
            </a:pPr>
            <a:endParaRPr lang="en-US" sz="1800" b="0" i="0" cap="none" dirty="0">
              <a:solidFill>
                <a:srgbClr val="292929"/>
              </a:solidFill>
              <a:effectLst/>
              <a:latin typeface="Times New Roman" panose="02020603050405020304" pitchFamily="18" charset="0"/>
              <a:cs typeface="Times New Roman" panose="02020603050405020304" pitchFamily="18" charset="0"/>
            </a:endParaRPr>
          </a:p>
          <a:p>
            <a:pPr>
              <a:buFont typeface="Wingdings" panose="05000000000000000000" pitchFamily="2" charset="2"/>
              <a:buChar char="Ø"/>
            </a:pPr>
            <a:endParaRPr lang="en-US" sz="1800" cap="none" dirty="0">
              <a:solidFill>
                <a:srgbClr val="292929"/>
              </a:solidFill>
              <a:latin typeface="Times New Roman" panose="02020603050405020304" pitchFamily="18" charset="0"/>
              <a:cs typeface="Times New Roman" panose="02020603050405020304" pitchFamily="18" charset="0"/>
            </a:endParaRPr>
          </a:p>
          <a:p>
            <a:pPr marL="0" indent="0">
              <a:buNone/>
            </a:pPr>
            <a:endParaRPr lang="en-US" sz="1800" b="0" i="0" cap="none" dirty="0">
              <a:solidFill>
                <a:srgbClr val="292929"/>
              </a:solidFill>
              <a:effectLst/>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IN" cap="none"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Removal of punctuation marks </a:t>
            </a:r>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In this step, the punctuation marks are removed from the text as they do not provide any extra information while extracting the semantics from the text.</a:t>
            </a:r>
            <a:b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b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pPr>
              <a:buFont typeface="Wingdings" panose="05000000000000000000" pitchFamily="2" charset="2"/>
              <a:buChar char="Ø"/>
            </a:pPr>
            <a:endParaRPr lang="en-US" b="0" i="0" cap="none" dirty="0">
              <a:solidFill>
                <a:srgbClr val="292929"/>
              </a:solidFill>
              <a:effectLst/>
              <a:latin typeface="Times New Roman" panose="02020603050405020304" pitchFamily="18" charset="0"/>
              <a:cs typeface="Times New Roman" panose="02020603050405020304" pitchFamily="18" charset="0"/>
            </a:endParaRPr>
          </a:p>
          <a:p>
            <a:pPr marL="0" indent="0">
              <a:buNone/>
            </a:pP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pPr marL="0" indent="0">
              <a:buNone/>
            </a:pPr>
            <a:endParaRPr lang="en-IN" dirty="0"/>
          </a:p>
        </p:txBody>
      </p:sp>
      <p:pic>
        <p:nvPicPr>
          <p:cNvPr id="3" name="Picture 2">
            <a:extLst>
              <a:ext uri="{FF2B5EF4-FFF2-40B4-BE49-F238E27FC236}">
                <a16:creationId xmlns:a16="http://schemas.microsoft.com/office/drawing/2014/main" id="{3FF8FD55-9B81-CAE0-C351-ACE976569B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55548" y="1508259"/>
            <a:ext cx="8655114" cy="1732882"/>
          </a:xfrm>
          <a:prstGeom prst="rect">
            <a:avLst/>
          </a:prstGeom>
        </p:spPr>
      </p:pic>
      <p:pic>
        <p:nvPicPr>
          <p:cNvPr id="4" name="Picture 3">
            <a:extLst>
              <a:ext uri="{FF2B5EF4-FFF2-40B4-BE49-F238E27FC236}">
                <a16:creationId xmlns:a16="http://schemas.microsoft.com/office/drawing/2014/main" id="{B052F7D2-6AB8-CDF0-A64B-B537805F6B04}"/>
              </a:ext>
            </a:extLst>
          </p:cNvPr>
          <p:cNvPicPr>
            <a:picLocks noChangeAspect="1"/>
          </p:cNvPicPr>
          <p:nvPr/>
        </p:nvPicPr>
        <p:blipFill rotWithShape="1">
          <a:blip r:embed="rId3">
            <a:extLst>
              <a:ext uri="{28A0092B-C50C-407E-A947-70E740481C1C}">
                <a14:useLocalDpi xmlns:a14="http://schemas.microsoft.com/office/drawing/2010/main" val="0"/>
              </a:ext>
            </a:extLst>
          </a:blip>
          <a:srcRect l="8951" r="1549"/>
          <a:stretch/>
        </p:blipFill>
        <p:spPr bwMode="auto">
          <a:xfrm>
            <a:off x="2969537" y="4133765"/>
            <a:ext cx="5948127" cy="2200275"/>
          </a:xfrm>
          <a:prstGeom prst="rect">
            <a:avLst/>
          </a:prstGeom>
          <a:noFill/>
          <a:ln>
            <a:noFill/>
          </a:ln>
        </p:spPr>
      </p:pic>
    </p:spTree>
    <p:extLst>
      <p:ext uri="{BB962C8B-B14F-4D97-AF65-F5344CB8AC3E}">
        <p14:creationId xmlns:p14="http://schemas.microsoft.com/office/powerpoint/2010/main" val="3801533091"/>
      </p:ext>
    </p:extLst>
  </p:cSld>
  <p:clrMapOvr>
    <a:masterClrMapping/>
  </p:clrMapOvr>
  <p:transition spd="slow">
    <p:cove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C42B13-700E-C94C-19E9-8ACCDB12975E}"/>
              </a:ext>
            </a:extLst>
          </p:cNvPr>
          <p:cNvSpPr>
            <a:spLocks noGrp="1"/>
          </p:cNvSpPr>
          <p:nvPr>
            <p:ph sz="quarter" idx="13"/>
          </p:nvPr>
        </p:nvSpPr>
        <p:spPr>
          <a:xfrm>
            <a:off x="696491" y="857341"/>
            <a:ext cx="10792357" cy="5787902"/>
          </a:xfrm>
          <a:solidFill>
            <a:schemeClr val="bg1">
              <a:lumMod val="20000"/>
              <a:lumOff val="80000"/>
            </a:schemeClr>
          </a:solidFill>
        </p:spPr>
        <p:txBody>
          <a:bodyPr>
            <a:normAutofit/>
          </a:bodyPr>
          <a:lstStyle/>
          <a:p>
            <a:pPr marL="0" indent="0">
              <a:buNone/>
            </a:pPr>
            <a:r>
              <a:rPr lang="en-US" i="0" cap="none" dirty="0">
                <a:solidFill>
                  <a:schemeClr val="bg2">
                    <a:lumMod val="10000"/>
                  </a:schemeClr>
                </a:solidFill>
                <a:effectLst/>
                <a:latin typeface="Times New Roman" panose="02020603050405020304" pitchFamily="18" charset="0"/>
                <a:cs typeface="Times New Roman" panose="02020603050405020304" pitchFamily="18" charset="0"/>
              </a:rPr>
              <a:t>Data on distribution of ratings</a:t>
            </a:r>
          </a:p>
          <a:p>
            <a:pPr marL="0" indent="0">
              <a:buNone/>
            </a:pPr>
            <a:r>
              <a:rPr lang="en-US" sz="1800" b="0" i="0" cap="none" dirty="0">
                <a:solidFill>
                  <a:schemeClr val="bg2">
                    <a:lumMod val="10000"/>
                  </a:schemeClr>
                </a:solidFill>
                <a:effectLst/>
                <a:latin typeface="Times New Roman" panose="02020603050405020304" pitchFamily="18" charset="0"/>
                <a:cs typeface="Times New Roman" panose="02020603050405020304" pitchFamily="18" charset="0"/>
              </a:rPr>
              <a:t>I first looked at the distribution of ratings among all of the reviews. We see that 5-star reviews constitute a large proportion (64%) of all reviews. The next most prevalent rating is 4-stars(14%), followed by 1-star (9%), 3-star (8%), and finally 2-star reviews (5%).</a:t>
            </a:r>
          </a:p>
          <a:p>
            <a:pPr marL="0" indent="0">
              <a:spcBef>
                <a:spcPts val="0"/>
              </a:spcBef>
              <a:buNone/>
            </a:pPr>
            <a:r>
              <a:rPr lang="en-US" sz="1800" cap="none" dirty="0">
                <a:solidFill>
                  <a:schemeClr val="bg2">
                    <a:lumMod val="10000"/>
                  </a:schemeClr>
                </a:solidFill>
                <a:latin typeface="Times New Roman" panose="02020603050405020304" pitchFamily="18" charset="0"/>
                <a:cs typeface="Times New Roman" panose="02020603050405020304" pitchFamily="18" charset="0"/>
              </a:rPr>
              <a:t>Here our target variable would be positive, </a:t>
            </a:r>
            <a:r>
              <a:rPr lang="en-IN" sz="1800" cap="none" dirty="0">
                <a:solidFill>
                  <a:schemeClr val="bg2">
                    <a:lumMod val="10000"/>
                  </a:schemeClr>
                </a:solidFill>
                <a:latin typeface="Times New Roman" panose="02020603050405020304" pitchFamily="18" charset="0"/>
                <a:cs typeface="Times New Roman" panose="02020603050405020304" pitchFamily="18" charset="0"/>
              </a:rPr>
              <a:t>negative, and </a:t>
            </a:r>
          </a:p>
          <a:p>
            <a:pPr marL="0" indent="0">
              <a:spcBef>
                <a:spcPts val="0"/>
              </a:spcBef>
              <a:buNone/>
            </a:pPr>
            <a:r>
              <a:rPr lang="en-IN" sz="1800" cap="none" dirty="0">
                <a:solidFill>
                  <a:schemeClr val="bg2">
                    <a:lumMod val="10000"/>
                  </a:schemeClr>
                </a:solidFill>
                <a:latin typeface="Times New Roman" panose="02020603050405020304" pitchFamily="18" charset="0"/>
                <a:cs typeface="Times New Roman" panose="02020603050405020304" pitchFamily="18" charset="0"/>
              </a:rPr>
              <a:t>neutral created using score.</a:t>
            </a:r>
          </a:p>
          <a:p>
            <a:pPr lvl="2">
              <a:buFont typeface="Wingdings" panose="05000000000000000000" pitchFamily="2" charset="2"/>
              <a:buChar char="q"/>
            </a:pPr>
            <a:r>
              <a:rPr lang="en-IN" sz="2000" cap="none" dirty="0">
                <a:solidFill>
                  <a:schemeClr val="bg2">
                    <a:lumMod val="10000"/>
                  </a:schemeClr>
                </a:solidFill>
                <a:latin typeface="Times New Roman" panose="02020603050405020304" pitchFamily="18" charset="0"/>
                <a:cs typeface="Times New Roman" panose="02020603050405020304" pitchFamily="18" charset="0"/>
              </a:rPr>
              <a:t>Score&lt;= 2: Negative</a:t>
            </a:r>
          </a:p>
          <a:p>
            <a:pPr lvl="2">
              <a:buFont typeface="Wingdings" panose="05000000000000000000" pitchFamily="2" charset="2"/>
              <a:buChar char="q"/>
            </a:pPr>
            <a:r>
              <a:rPr lang="en-IN" sz="2000" cap="none" dirty="0">
                <a:solidFill>
                  <a:schemeClr val="bg2">
                    <a:lumMod val="10000"/>
                  </a:schemeClr>
                </a:solidFill>
                <a:latin typeface="Times New Roman" panose="02020603050405020304" pitchFamily="18" charset="0"/>
                <a:cs typeface="Times New Roman" panose="02020603050405020304" pitchFamily="18" charset="0"/>
              </a:rPr>
              <a:t>Score = 3:  Neutral</a:t>
            </a:r>
          </a:p>
          <a:p>
            <a:pPr lvl="2">
              <a:buFont typeface="Wingdings" panose="05000000000000000000" pitchFamily="2" charset="2"/>
              <a:buChar char="q"/>
            </a:pPr>
            <a:r>
              <a:rPr lang="en-IN" sz="2000" cap="none" dirty="0">
                <a:solidFill>
                  <a:schemeClr val="bg2">
                    <a:lumMod val="10000"/>
                  </a:schemeClr>
                </a:solidFill>
                <a:latin typeface="Times New Roman" panose="02020603050405020304" pitchFamily="18" charset="0"/>
                <a:cs typeface="Times New Roman" panose="02020603050405020304" pitchFamily="18" charset="0"/>
              </a:rPr>
              <a:t>Score&gt;= 4: Positive</a:t>
            </a:r>
          </a:p>
          <a:p>
            <a:pPr marL="0" indent="0">
              <a:buNone/>
            </a:pPr>
            <a:r>
              <a:rPr lang="en-IN" sz="1800" cap="none" dirty="0">
                <a:solidFill>
                  <a:srgbClr val="FF0000"/>
                </a:solidFill>
                <a:latin typeface="Times New Roman" panose="02020603050405020304" pitchFamily="18" charset="0"/>
                <a:cs typeface="Times New Roman" panose="02020603050405020304" pitchFamily="18" charset="0"/>
              </a:rPr>
              <a:t>                             We recreate a ‘balanced’ dataset.</a:t>
            </a:r>
          </a:p>
        </p:txBody>
      </p:sp>
      <p:pic>
        <p:nvPicPr>
          <p:cNvPr id="1032" name="Picture 8">
            <a:extLst>
              <a:ext uri="{FF2B5EF4-FFF2-40B4-BE49-F238E27FC236}">
                <a16:creationId xmlns:a16="http://schemas.microsoft.com/office/drawing/2014/main" id="{CC2841A5-E11B-7AD7-FA67-185D31FBE9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31957" y="2559867"/>
            <a:ext cx="4523559" cy="344079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91428ED6-FEF5-B3CC-C1D1-84F66C34A219}"/>
              </a:ext>
            </a:extLst>
          </p:cNvPr>
          <p:cNvPicPr>
            <a:picLocks noChangeAspect="1"/>
          </p:cNvPicPr>
          <p:nvPr/>
        </p:nvPicPr>
        <p:blipFill rotWithShape="1">
          <a:blip r:embed="rId3">
            <a:extLst>
              <a:ext uri="{28A0092B-C50C-407E-A947-70E740481C1C}">
                <a14:useLocalDpi xmlns:a14="http://schemas.microsoft.com/office/drawing/2010/main" val="0"/>
              </a:ext>
            </a:extLst>
          </a:blip>
          <a:srcRect r="43331"/>
          <a:stretch/>
        </p:blipFill>
        <p:spPr>
          <a:xfrm>
            <a:off x="1053796" y="4813917"/>
            <a:ext cx="4820856" cy="1303700"/>
          </a:xfrm>
          <a:prstGeom prst="rect">
            <a:avLst/>
          </a:prstGeom>
        </p:spPr>
      </p:pic>
    </p:spTree>
    <p:extLst>
      <p:ext uri="{BB962C8B-B14F-4D97-AF65-F5344CB8AC3E}">
        <p14:creationId xmlns:p14="http://schemas.microsoft.com/office/powerpoint/2010/main" val="2406841036"/>
      </p:ext>
    </p:extLst>
  </p:cSld>
  <p:clrMapOvr>
    <a:masterClrMapping/>
  </p:clrMapOvr>
  <p:transition spd="slow">
    <p:cove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04B3F1-A31A-B760-9364-78F54CC9EDFE}"/>
              </a:ext>
            </a:extLst>
          </p:cNvPr>
          <p:cNvSpPr>
            <a:spLocks noGrp="1"/>
          </p:cNvSpPr>
          <p:nvPr>
            <p:ph type="title"/>
          </p:nvPr>
        </p:nvSpPr>
        <p:spPr>
          <a:xfrm>
            <a:off x="913776" y="597529"/>
            <a:ext cx="10364451" cy="841973"/>
          </a:xfrm>
          <a:gradFill flip="none" rotWithShape="1">
            <a:gsLst>
              <a:gs pos="0">
                <a:srgbClr val="FF3399">
                  <a:tint val="66000"/>
                  <a:satMod val="160000"/>
                </a:srgbClr>
              </a:gs>
              <a:gs pos="50000">
                <a:srgbClr val="FF3399">
                  <a:tint val="44500"/>
                  <a:satMod val="160000"/>
                </a:srgbClr>
              </a:gs>
              <a:gs pos="100000">
                <a:srgbClr val="FF3399">
                  <a:tint val="23500"/>
                  <a:satMod val="160000"/>
                </a:srgbClr>
              </a:gs>
            </a:gsLst>
            <a:lin ang="16200000" scaled="1"/>
            <a:tileRect/>
          </a:gradFill>
        </p:spPr>
        <p:txBody>
          <a:bodyPr>
            <a:normAutofit/>
          </a:bodyPr>
          <a:lstStyle/>
          <a:p>
            <a:r>
              <a:rPr lang="en-US" sz="3600" dirty="0">
                <a:solidFill>
                  <a:srgbClr val="CC0000"/>
                </a:solidFill>
                <a:latin typeface="Algerian" panose="04020705040A02060702" pitchFamily="82" charset="0"/>
              </a:rPr>
              <a:t>Agenda</a:t>
            </a:r>
            <a:r>
              <a:rPr lang="en-US" dirty="0"/>
              <a:t> </a:t>
            </a:r>
            <a:endParaRPr lang="en-IN" dirty="0"/>
          </a:p>
        </p:txBody>
      </p:sp>
      <p:graphicFrame>
        <p:nvGraphicFramePr>
          <p:cNvPr id="6" name="Content Placeholder 5">
            <a:extLst>
              <a:ext uri="{FF2B5EF4-FFF2-40B4-BE49-F238E27FC236}">
                <a16:creationId xmlns:a16="http://schemas.microsoft.com/office/drawing/2014/main" id="{2349D86E-31BB-E6D2-D877-57EED118C9F3}"/>
              </a:ext>
            </a:extLst>
          </p:cNvPr>
          <p:cNvGraphicFramePr>
            <a:graphicFrameLocks noGrp="1"/>
          </p:cNvGraphicFramePr>
          <p:nvPr>
            <p:ph sz="quarter" idx="13"/>
            <p:extLst>
              <p:ext uri="{D42A27DB-BD31-4B8C-83A1-F6EECF244321}">
                <p14:modId xmlns:p14="http://schemas.microsoft.com/office/powerpoint/2010/main" val="1759867598"/>
              </p:ext>
            </p:extLst>
          </p:nvPr>
        </p:nvGraphicFramePr>
        <p:xfrm>
          <a:off x="913773" y="1611518"/>
          <a:ext cx="10484540" cy="48798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00298297"/>
      </p:ext>
    </p:extLst>
  </p:cSld>
  <p:clrMapOvr>
    <a:masterClrMapping/>
  </p:clrMapOvr>
  <p:transition spd="slow">
    <p:cove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5270D8D-0B38-3E34-9DE4-17F8F5299107}"/>
              </a:ext>
            </a:extLst>
          </p:cNvPr>
          <p:cNvSpPr>
            <a:spLocks noGrp="1"/>
          </p:cNvSpPr>
          <p:nvPr>
            <p:ph sz="quarter" idx="13"/>
          </p:nvPr>
        </p:nvSpPr>
        <p:spPr>
          <a:xfrm>
            <a:off x="748421" y="690326"/>
            <a:ext cx="11193100" cy="5683313"/>
          </a:xfrm>
          <a:solidFill>
            <a:schemeClr val="bg1">
              <a:lumMod val="20000"/>
              <a:lumOff val="80000"/>
            </a:schemeClr>
          </a:solidFill>
        </p:spPr>
        <p:txBody>
          <a:bodyPr/>
          <a:lstStyle/>
          <a:p>
            <a:pPr>
              <a:buFont typeface="Wingdings" panose="05000000000000000000" pitchFamily="2" charset="2"/>
              <a:buChar char="Ø"/>
            </a:pPr>
            <a:r>
              <a:rPr lang="en-IN" sz="3200" b="1" i="0" u="sng" cap="none" dirty="0">
                <a:solidFill>
                  <a:srgbClr val="0B0305"/>
                </a:solidFill>
                <a:effectLst/>
                <a:latin typeface="Times New Roman" panose="02020603050405020304" pitchFamily="18" charset="0"/>
                <a:cs typeface="Times New Roman" panose="02020603050405020304" pitchFamily="18" charset="0"/>
              </a:rPr>
              <a:t>Basic statistics:-</a:t>
            </a:r>
            <a:endParaRPr lang="en-IN" sz="3200" b="0" i="0" cap="none" dirty="0">
              <a:solidFill>
                <a:srgbClr val="0B0305"/>
              </a:solidFill>
              <a:effectLst/>
              <a:latin typeface="Times New Roman" panose="02020603050405020304" pitchFamily="18" charset="0"/>
              <a:cs typeface="Times New Roman" panose="02020603050405020304" pitchFamily="18" charset="0"/>
            </a:endParaRPr>
          </a:p>
          <a:p>
            <a:pPr marL="0" indent="0">
              <a:buNone/>
            </a:pPr>
            <a:r>
              <a:rPr lang="en-IN" i="0" cap="none" dirty="0">
                <a:solidFill>
                  <a:schemeClr val="bg2">
                    <a:lumMod val="10000"/>
                  </a:schemeClr>
                </a:solidFill>
                <a:effectLst/>
                <a:latin typeface="Times New Roman" panose="02020603050405020304" pitchFamily="18" charset="0"/>
                <a:cs typeface="Times New Roman" panose="02020603050405020304" pitchFamily="18" charset="0"/>
              </a:rPr>
              <a:t>Descriptive statistics:</a:t>
            </a:r>
            <a:r>
              <a:rPr lang="en-US" sz="1600" b="0" i="0" cap="none" dirty="0">
                <a:solidFill>
                  <a:schemeClr val="bg2">
                    <a:lumMod val="10000"/>
                  </a:schemeClr>
                </a:solidFill>
                <a:effectLst/>
                <a:latin typeface="Times New Roman" panose="02020603050405020304" pitchFamily="18" charset="0"/>
                <a:cs typeface="Times New Roman" panose="02020603050405020304" pitchFamily="18" charset="0"/>
              </a:rPr>
              <a:t>The data is </a:t>
            </a:r>
            <a:r>
              <a:rPr lang="en-US" sz="1600" b="0" i="0" cap="none" dirty="0" err="1">
                <a:solidFill>
                  <a:schemeClr val="bg2">
                    <a:lumMod val="10000"/>
                  </a:schemeClr>
                </a:solidFill>
                <a:effectLst/>
                <a:latin typeface="Times New Roman" panose="02020603050405020304" pitchFamily="18" charset="0"/>
                <a:cs typeface="Times New Roman" panose="02020603050405020304" pitchFamily="18" charset="0"/>
              </a:rPr>
              <a:t>summarised</a:t>
            </a:r>
            <a:r>
              <a:rPr lang="en-US" sz="1600" b="0" i="0" cap="none" dirty="0">
                <a:solidFill>
                  <a:schemeClr val="bg2">
                    <a:lumMod val="10000"/>
                  </a:schemeClr>
                </a:solidFill>
                <a:effectLst/>
                <a:latin typeface="Times New Roman" panose="02020603050405020304" pitchFamily="18" charset="0"/>
                <a:cs typeface="Times New Roman" panose="02020603050405020304" pitchFamily="18" charset="0"/>
              </a:rPr>
              <a:t> and explained in descriptive statistics. The summarization is done from a population sample </a:t>
            </a:r>
            <a:r>
              <a:rPr lang="en-US" sz="1600" b="0" i="0" cap="none" dirty="0" err="1">
                <a:solidFill>
                  <a:schemeClr val="bg2">
                    <a:lumMod val="10000"/>
                  </a:schemeClr>
                </a:solidFill>
                <a:effectLst/>
                <a:latin typeface="Times New Roman" panose="02020603050405020304" pitchFamily="18" charset="0"/>
                <a:cs typeface="Times New Roman" panose="02020603050405020304" pitchFamily="18" charset="0"/>
              </a:rPr>
              <a:t>utilising</a:t>
            </a:r>
            <a:r>
              <a:rPr lang="en-US" sz="1600" b="0" i="0" cap="none" dirty="0">
                <a:solidFill>
                  <a:schemeClr val="bg2">
                    <a:lumMod val="10000"/>
                  </a:schemeClr>
                </a:solidFill>
                <a:effectLst/>
                <a:latin typeface="Times New Roman" panose="02020603050405020304" pitchFamily="18" charset="0"/>
                <a:cs typeface="Times New Roman" panose="02020603050405020304" pitchFamily="18" charset="0"/>
              </a:rPr>
              <a:t> several factors such as mean and standard deviation. Descriptive statistics is a way of </a:t>
            </a:r>
            <a:r>
              <a:rPr lang="en-US" sz="1600" b="0" i="0" cap="none" dirty="0" err="1">
                <a:solidFill>
                  <a:schemeClr val="bg2">
                    <a:lumMod val="10000"/>
                  </a:schemeClr>
                </a:solidFill>
                <a:effectLst/>
                <a:latin typeface="Times New Roman" panose="02020603050405020304" pitchFamily="18" charset="0"/>
                <a:cs typeface="Times New Roman" panose="02020603050405020304" pitchFamily="18" charset="0"/>
              </a:rPr>
              <a:t>organising</a:t>
            </a:r>
            <a:r>
              <a:rPr lang="en-US" sz="1600" b="0" i="0" cap="none" dirty="0">
                <a:solidFill>
                  <a:schemeClr val="bg2">
                    <a:lumMod val="10000"/>
                  </a:schemeClr>
                </a:solidFill>
                <a:effectLst/>
                <a:latin typeface="Times New Roman" panose="02020603050405020304" pitchFamily="18" charset="0"/>
                <a:cs typeface="Times New Roman" panose="02020603050405020304" pitchFamily="18" charset="0"/>
              </a:rPr>
              <a:t>, representing, and explaining a set of data using charts, graphs, and summary measures. Histograms, pie charts, bars, and scatter plots are common ways to </a:t>
            </a:r>
            <a:r>
              <a:rPr lang="en-US" sz="1600" b="0" i="0" cap="none" dirty="0" err="1">
                <a:solidFill>
                  <a:schemeClr val="bg2">
                    <a:lumMod val="10000"/>
                  </a:schemeClr>
                </a:solidFill>
                <a:effectLst/>
                <a:latin typeface="Times New Roman" panose="02020603050405020304" pitchFamily="18" charset="0"/>
                <a:cs typeface="Times New Roman" panose="02020603050405020304" pitchFamily="18" charset="0"/>
              </a:rPr>
              <a:t>summarise</a:t>
            </a:r>
            <a:r>
              <a:rPr lang="en-US" sz="1600" b="0" i="0" cap="none" dirty="0">
                <a:solidFill>
                  <a:schemeClr val="bg2">
                    <a:lumMod val="10000"/>
                  </a:schemeClr>
                </a:solidFill>
                <a:effectLst/>
                <a:latin typeface="Times New Roman" panose="02020603050405020304" pitchFamily="18" charset="0"/>
                <a:cs typeface="Times New Roman" panose="02020603050405020304" pitchFamily="18" charset="0"/>
              </a:rPr>
              <a:t> data and present it in tables or graphs.</a:t>
            </a:r>
          </a:p>
          <a:p>
            <a:pPr marL="0" indent="0">
              <a:buNone/>
            </a:pPr>
            <a:r>
              <a:rPr lang="en-US" cap="none" dirty="0">
                <a:solidFill>
                  <a:schemeClr val="bg2">
                    <a:lumMod val="10000"/>
                  </a:schemeClr>
                </a:solidFill>
                <a:latin typeface="Times New Roman" panose="02020603050405020304" pitchFamily="18" charset="0"/>
                <a:cs typeface="Times New Roman" panose="02020603050405020304" pitchFamily="18" charset="0"/>
              </a:rPr>
              <a:t>This reduces the number of observations from the original 568,454 to 298,402. Examine the distribution of the attributes amazon food reviews by looking at their descriptive statistics. </a:t>
            </a:r>
            <a:endParaRPr lang="en-US" b="0" i="0" cap="none" dirty="0">
              <a:solidFill>
                <a:schemeClr val="bg2">
                  <a:lumMod val="10000"/>
                </a:schemeClr>
              </a:solidFill>
              <a:effectLst/>
              <a:latin typeface="Times New Roman" panose="02020603050405020304" pitchFamily="18" charset="0"/>
              <a:cs typeface="Times New Roman" panose="02020603050405020304" pitchFamily="18" charset="0"/>
            </a:endParaRPr>
          </a:p>
          <a:p>
            <a:pPr marL="0" indent="0">
              <a:buNone/>
            </a:pPr>
            <a:endParaRPr lang="en-IN" sz="1600" cap="none" dirty="0">
              <a:solidFill>
                <a:schemeClr val="bg2">
                  <a:lumMod val="10000"/>
                </a:schemeClr>
              </a:solidFill>
              <a:latin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1A9A213A-4857-00C1-DE66-B0A8C1C0FC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8420" y="3683931"/>
            <a:ext cx="9180214" cy="2260498"/>
          </a:xfrm>
          <a:prstGeom prst="rect">
            <a:avLst/>
          </a:prstGeom>
        </p:spPr>
      </p:pic>
      <p:pic>
        <p:nvPicPr>
          <p:cNvPr id="7" name="Picture 6">
            <a:extLst>
              <a:ext uri="{FF2B5EF4-FFF2-40B4-BE49-F238E27FC236}">
                <a16:creationId xmlns:a16="http://schemas.microsoft.com/office/drawing/2014/main" id="{54ABC4B7-CD65-1668-2976-2D33F07A75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28634" y="3683931"/>
            <a:ext cx="1933845" cy="2260498"/>
          </a:xfrm>
          <a:prstGeom prst="rect">
            <a:avLst/>
          </a:prstGeom>
        </p:spPr>
      </p:pic>
    </p:spTree>
    <p:extLst>
      <p:ext uri="{BB962C8B-B14F-4D97-AF65-F5344CB8AC3E}">
        <p14:creationId xmlns:p14="http://schemas.microsoft.com/office/powerpoint/2010/main" val="2618601207"/>
      </p:ext>
    </p:extLst>
  </p:cSld>
  <p:clrMapOvr>
    <a:masterClrMapping/>
  </p:clrMapOvr>
  <p:transition spd="slow">
    <p:cove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ADB68D7-B987-CEF5-E54A-FB97D0481B9B}"/>
              </a:ext>
            </a:extLst>
          </p:cNvPr>
          <p:cNvSpPr>
            <a:spLocks noGrp="1"/>
          </p:cNvSpPr>
          <p:nvPr>
            <p:ph sz="quarter" idx="13"/>
          </p:nvPr>
        </p:nvSpPr>
        <p:spPr>
          <a:xfrm>
            <a:off x="648586" y="380245"/>
            <a:ext cx="11036595" cy="6400800"/>
          </a:xfrm>
        </p:spPr>
        <p:txBody>
          <a:bodyPr>
            <a:normAutofit/>
          </a:bodyPr>
          <a:lstStyle/>
          <a:p>
            <a:pPr>
              <a:buFont typeface="Wingdings" panose="05000000000000000000" pitchFamily="2" charset="2"/>
              <a:buChar char="Ø"/>
            </a:pPr>
            <a:r>
              <a:rPr lang="en-IN" sz="3200" cap="none" dirty="0">
                <a:latin typeface="Algerian" panose="04020705040A02060702" pitchFamily="82" charset="0"/>
              </a:rPr>
              <a:t>Word cloud:</a:t>
            </a:r>
          </a:p>
          <a:p>
            <a:pPr marL="0" indent="0">
              <a:buNone/>
            </a:pPr>
            <a:r>
              <a:rPr lang="en-US" b="0" i="0" cap="none" dirty="0">
                <a:effectLst/>
                <a:latin typeface="Times New Roman" panose="02020603050405020304" pitchFamily="18" charset="0"/>
                <a:cs typeface="Times New Roman" panose="02020603050405020304" pitchFamily="18" charset="0"/>
              </a:rPr>
              <a:t>The core of the </a:t>
            </a:r>
            <a:r>
              <a:rPr lang="en-US" b="0" i="0" cap="none" dirty="0" err="1">
                <a:effectLst/>
                <a:latin typeface="Times New Roman" panose="02020603050405020304" pitchFamily="18" charset="0"/>
                <a:cs typeface="Times New Roman" panose="02020603050405020304" pitchFamily="18" charset="0"/>
              </a:rPr>
              <a:t>wordcloud</a:t>
            </a:r>
            <a:r>
              <a:rPr lang="en-US" b="0" i="0" cap="none" dirty="0">
                <a:effectLst/>
                <a:latin typeface="Times New Roman" panose="02020603050405020304" pitchFamily="18" charset="0"/>
                <a:cs typeface="Times New Roman" panose="02020603050405020304" pitchFamily="18" charset="0"/>
              </a:rPr>
              <a:t> library is the </a:t>
            </a:r>
            <a:r>
              <a:rPr lang="en-US" b="0" i="0" cap="none" dirty="0" err="1">
                <a:effectLst/>
                <a:latin typeface="Times New Roman" panose="02020603050405020304" pitchFamily="18" charset="0"/>
                <a:cs typeface="Times New Roman" panose="02020603050405020304" pitchFamily="18" charset="0"/>
              </a:rPr>
              <a:t>wordcloud</a:t>
            </a:r>
            <a:r>
              <a:rPr lang="en-US" b="0" i="0" cap="none" dirty="0">
                <a:effectLst/>
                <a:latin typeface="Times New Roman" panose="02020603050405020304" pitchFamily="18" charset="0"/>
                <a:cs typeface="Times New Roman" panose="02020603050405020304" pitchFamily="18" charset="0"/>
              </a:rPr>
              <a:t> class, and all functions are encapsulated in the </a:t>
            </a:r>
            <a:r>
              <a:rPr lang="en-US" b="0" i="0" cap="none" dirty="0" err="1">
                <a:effectLst/>
                <a:latin typeface="Times New Roman" panose="02020603050405020304" pitchFamily="18" charset="0"/>
                <a:cs typeface="Times New Roman" panose="02020603050405020304" pitchFamily="18" charset="0"/>
              </a:rPr>
              <a:t>wordcloud</a:t>
            </a:r>
            <a:r>
              <a:rPr lang="en-US" b="0" i="0" cap="none" dirty="0">
                <a:effectLst/>
                <a:latin typeface="Times New Roman" panose="02020603050405020304" pitchFamily="18" charset="0"/>
                <a:cs typeface="Times New Roman" panose="02020603050405020304" pitchFamily="18" charset="0"/>
              </a:rPr>
              <a:t> class. When using, you need to instantiate a </a:t>
            </a:r>
            <a:r>
              <a:rPr lang="en-US" b="1" i="0" cap="none" dirty="0" err="1">
                <a:effectLst/>
                <a:latin typeface="Times New Roman" panose="02020603050405020304" pitchFamily="18" charset="0"/>
                <a:cs typeface="Times New Roman" panose="02020603050405020304" pitchFamily="18" charset="0"/>
              </a:rPr>
              <a:t>wordcloud</a:t>
            </a:r>
            <a:r>
              <a:rPr lang="en-US" b="0" i="0" cap="none" dirty="0">
                <a:effectLst/>
                <a:latin typeface="Times New Roman" panose="02020603050405020304" pitchFamily="18" charset="0"/>
                <a:cs typeface="Times New Roman" panose="02020603050405020304" pitchFamily="18" charset="0"/>
              </a:rPr>
              <a:t> object, and call its </a:t>
            </a:r>
            <a:r>
              <a:rPr lang="en-US" b="1" i="0" cap="none" dirty="0">
                <a:effectLst/>
                <a:latin typeface="Times New Roman" panose="02020603050405020304" pitchFamily="18" charset="0"/>
                <a:cs typeface="Times New Roman" panose="02020603050405020304" pitchFamily="18" charset="0"/>
              </a:rPr>
              <a:t>generate(text)</a:t>
            </a:r>
            <a:r>
              <a:rPr lang="en-US" b="0" i="0" cap="none" dirty="0">
                <a:effectLst/>
                <a:latin typeface="Times New Roman" panose="02020603050405020304" pitchFamily="18" charset="0"/>
                <a:cs typeface="Times New Roman" panose="02020603050405020304" pitchFamily="18" charset="0"/>
              </a:rPr>
              <a:t> method to convert the text into a word cloud.</a:t>
            </a:r>
          </a:p>
          <a:p>
            <a:pPr>
              <a:buFont typeface="Wingdings" panose="05000000000000000000" pitchFamily="2" charset="2"/>
              <a:buChar char="Ø"/>
            </a:pPr>
            <a:r>
              <a:rPr lang="en-US" cap="none" dirty="0">
                <a:latin typeface="Times New Roman" panose="02020603050405020304" pitchFamily="18" charset="0"/>
                <a:cs typeface="Times New Roman" panose="02020603050405020304" pitchFamily="18" charset="0"/>
              </a:rPr>
              <a:t>          </a:t>
            </a:r>
            <a:r>
              <a:rPr lang="en-US" sz="2800" cap="none" dirty="0">
                <a:latin typeface="Algerian" panose="04020705040A02060702" pitchFamily="82" charset="0"/>
                <a:cs typeface="Times New Roman" panose="02020603050405020304" pitchFamily="18" charset="0"/>
              </a:rPr>
              <a:t>Word cloud looking at the ‘</a:t>
            </a:r>
            <a:r>
              <a:rPr lang="en-IN" sz="2800" cap="none" dirty="0">
                <a:latin typeface="Algerian" panose="04020705040A02060702" pitchFamily="82" charset="0"/>
                <a:cs typeface="Times New Roman" panose="02020603050405020304" pitchFamily="18" charset="0"/>
              </a:rPr>
              <a:t>Summary’ text</a:t>
            </a:r>
          </a:p>
        </p:txBody>
      </p:sp>
      <p:pic>
        <p:nvPicPr>
          <p:cNvPr id="3" name="Picture 2">
            <a:extLst>
              <a:ext uri="{FF2B5EF4-FFF2-40B4-BE49-F238E27FC236}">
                <a16:creationId xmlns:a16="http://schemas.microsoft.com/office/drawing/2014/main" id="{A5666F95-B272-E04D-D6A0-5F4AF8018476}"/>
              </a:ext>
            </a:extLst>
          </p:cNvPr>
          <p:cNvPicPr>
            <a:picLocks noChangeAspect="1"/>
          </p:cNvPicPr>
          <p:nvPr/>
        </p:nvPicPr>
        <p:blipFill>
          <a:blip r:embed="rId2"/>
          <a:stretch>
            <a:fillRect/>
          </a:stretch>
        </p:blipFill>
        <p:spPr>
          <a:xfrm>
            <a:off x="1113813" y="2990275"/>
            <a:ext cx="9964374" cy="348748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90556978"/>
      </p:ext>
    </p:extLst>
  </p:cSld>
  <p:clrMapOvr>
    <a:masterClrMapping/>
  </p:clrMapOvr>
  <p:transition spd="slow">
    <p:cove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11F2105-FC67-BF57-2140-9DC7EC6855A5}"/>
              </a:ext>
            </a:extLst>
          </p:cNvPr>
          <p:cNvSpPr>
            <a:spLocks noGrp="1"/>
          </p:cNvSpPr>
          <p:nvPr>
            <p:ph sz="quarter" idx="13"/>
          </p:nvPr>
        </p:nvSpPr>
        <p:spPr>
          <a:xfrm>
            <a:off x="733647" y="452023"/>
            <a:ext cx="10652595" cy="6211328"/>
          </a:xfrm>
          <a:solidFill>
            <a:schemeClr val="bg1">
              <a:lumMod val="40000"/>
              <a:lumOff val="60000"/>
            </a:schemeClr>
          </a:solidFill>
        </p:spPr>
        <p:txBody>
          <a:bodyPr/>
          <a:lstStyle/>
          <a:p>
            <a:pPr>
              <a:spcBef>
                <a:spcPts val="600"/>
              </a:spcBef>
              <a:buFont typeface="Wingdings" panose="05000000000000000000" pitchFamily="2" charset="2"/>
              <a:buChar char="Ø"/>
            </a:pPr>
            <a:r>
              <a:rPr lang="en-IN" cap="none" dirty="0">
                <a:latin typeface="Times New Roman" panose="02020603050405020304" pitchFamily="18" charset="0"/>
                <a:cs typeface="Times New Roman" panose="02020603050405020304" pitchFamily="18" charset="0"/>
              </a:rPr>
              <a:t>The  code to produce these word clouds is included below.</a:t>
            </a:r>
          </a:p>
          <a:p>
            <a:pPr>
              <a:spcBef>
                <a:spcPts val="600"/>
              </a:spcBef>
              <a:buFont typeface="Wingdings" panose="05000000000000000000" pitchFamily="2" charset="2"/>
              <a:buChar char="Ø"/>
            </a:pPr>
            <a:r>
              <a:rPr lang="en-IN" cap="none" dirty="0">
                <a:latin typeface="Times New Roman" panose="02020603050405020304" pitchFamily="18" charset="0"/>
                <a:cs typeface="Times New Roman" panose="02020603050405020304" pitchFamily="18" charset="0"/>
              </a:rPr>
              <a:t>Common words in positive, negative reviews.</a:t>
            </a:r>
            <a:r>
              <a:rPr lang="en-US" cap="none" dirty="0">
                <a:latin typeface="Times New Roman" panose="02020603050405020304" pitchFamily="18" charset="0"/>
                <a:cs typeface="Times New Roman" panose="02020603050405020304" pitchFamily="18" charset="0"/>
              </a:rPr>
              <a:t> Let's split the data into negative(score is 1 or 2) and positive(4 or#5) reviews.</a:t>
            </a:r>
            <a:endParaRPr lang="en-IN" cap="none" dirty="0">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6EED49B3-6E50-97AF-679C-DE707550DCCE}"/>
              </a:ext>
            </a:extLst>
          </p:cNvPr>
          <p:cNvPicPr>
            <a:picLocks noChangeAspect="1"/>
          </p:cNvPicPr>
          <p:nvPr/>
        </p:nvPicPr>
        <p:blipFill>
          <a:blip r:embed="rId2"/>
          <a:stretch>
            <a:fillRect/>
          </a:stretch>
        </p:blipFill>
        <p:spPr>
          <a:xfrm>
            <a:off x="1382233" y="1807533"/>
            <a:ext cx="9090837" cy="4455043"/>
          </a:xfrm>
          <a:prstGeom prst="rect">
            <a:avLst/>
          </a:prstGeom>
        </p:spPr>
      </p:pic>
    </p:spTree>
    <p:extLst>
      <p:ext uri="{BB962C8B-B14F-4D97-AF65-F5344CB8AC3E}">
        <p14:creationId xmlns:p14="http://schemas.microsoft.com/office/powerpoint/2010/main" val="331517871"/>
      </p:ext>
    </p:extLst>
  </p:cSld>
  <p:clrMapOvr>
    <a:masterClrMapping/>
  </p:clrMapOvr>
  <p:transition spd="slow">
    <p:cove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2388DD-FD0B-180D-5369-97ACFE184436}"/>
              </a:ext>
            </a:extLst>
          </p:cNvPr>
          <p:cNvSpPr>
            <a:spLocks noGrp="1"/>
          </p:cNvSpPr>
          <p:nvPr>
            <p:ph sz="quarter" idx="13"/>
          </p:nvPr>
        </p:nvSpPr>
        <p:spPr>
          <a:xfrm>
            <a:off x="913773" y="543208"/>
            <a:ext cx="10520754" cy="5875699"/>
          </a:xfrm>
          <a:solidFill>
            <a:schemeClr val="bg1">
              <a:lumMod val="20000"/>
              <a:lumOff val="80000"/>
            </a:schemeClr>
          </a:solidFill>
        </p:spPr>
        <p:txBody>
          <a:bodyPr>
            <a:normAutofit/>
          </a:bodyPr>
          <a:lstStyle/>
          <a:p>
            <a:pPr>
              <a:buFont typeface="Wingdings" panose="05000000000000000000" pitchFamily="2" charset="2"/>
              <a:buChar char="Ø"/>
            </a:pPr>
            <a:r>
              <a:rPr lang="en-US" sz="3200" cap="none" dirty="0">
                <a:latin typeface="Times New Roman" panose="02020603050405020304" pitchFamily="18" charset="0"/>
                <a:cs typeface="Times New Roman" panose="02020603050405020304" pitchFamily="18" charset="0"/>
              </a:rPr>
              <a:t>Splitting the data</a:t>
            </a:r>
          </a:p>
          <a:p>
            <a:pPr marL="0" indent="0">
              <a:buNone/>
            </a:pPr>
            <a:r>
              <a:rPr lang="en-US" sz="1800" cap="none" dirty="0">
                <a:latin typeface="Times New Roman" panose="02020603050405020304" pitchFamily="18" charset="0"/>
                <a:cs typeface="Times New Roman" panose="02020603050405020304" pitchFamily="18" charset="0"/>
              </a:rPr>
              <a:t>Split the data into train and validation:</a:t>
            </a:r>
          </a:p>
          <a:p>
            <a:pPr marL="0" indent="0">
              <a:buNone/>
            </a:pPr>
            <a:endParaRPr lang="en-US" sz="1800" cap="none" dirty="0">
              <a:latin typeface="Times New Roman" panose="02020603050405020304" pitchFamily="18" charset="0"/>
              <a:cs typeface="Times New Roman" panose="02020603050405020304" pitchFamily="18" charset="0"/>
            </a:endParaRPr>
          </a:p>
          <a:p>
            <a:pPr marL="0" indent="0">
              <a:buNone/>
            </a:pPr>
            <a:endParaRPr lang="en-US" sz="1800" cap="none" dirty="0">
              <a:latin typeface="Times New Roman" panose="02020603050405020304" pitchFamily="18" charset="0"/>
              <a:cs typeface="Times New Roman" panose="02020603050405020304" pitchFamily="18" charset="0"/>
            </a:endParaRPr>
          </a:p>
          <a:p>
            <a:pPr marL="0" indent="0">
              <a:buNone/>
            </a:pPr>
            <a:endParaRPr lang="en-US" sz="1800" cap="none" dirty="0">
              <a:latin typeface="Times New Roman" panose="02020603050405020304" pitchFamily="18" charset="0"/>
              <a:cs typeface="Times New Roman" panose="02020603050405020304" pitchFamily="18" charset="0"/>
            </a:endParaRPr>
          </a:p>
          <a:p>
            <a:pPr marL="0" indent="0">
              <a:buNone/>
            </a:pPr>
            <a:endParaRPr lang="en-US" sz="1800" cap="none" dirty="0">
              <a:latin typeface="Times New Roman" panose="02020603050405020304" pitchFamily="18" charset="0"/>
              <a:cs typeface="Times New Roman" panose="02020603050405020304" pitchFamily="18" charset="0"/>
            </a:endParaRPr>
          </a:p>
          <a:p>
            <a:pPr marL="0" indent="0">
              <a:buNone/>
            </a:pPr>
            <a:endParaRPr lang="en-US" sz="1800" cap="none" dirty="0">
              <a:latin typeface="Times New Roman" panose="02020603050405020304" pitchFamily="18" charset="0"/>
              <a:cs typeface="Times New Roman" panose="02020603050405020304" pitchFamily="18" charset="0"/>
            </a:endParaRPr>
          </a:p>
          <a:p>
            <a:pPr marL="0" indent="0">
              <a:buNone/>
            </a:pPr>
            <a:endParaRPr lang="en-US" sz="1800" cap="none" dirty="0">
              <a:latin typeface="Times New Roman" panose="02020603050405020304" pitchFamily="18" charset="0"/>
              <a:cs typeface="Times New Roman" panose="02020603050405020304" pitchFamily="18" charset="0"/>
            </a:endParaRPr>
          </a:p>
          <a:p>
            <a:pPr marL="0" indent="0">
              <a:buNone/>
            </a:pPr>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This study uses the hold-out method to split the original dataset into train and test sets. The dataset is shuffled and divided into train and test sets with the ratio 7:3 for all the approaches used in the study.</a:t>
            </a:r>
            <a:endParaRPr lang="en-IN" cap="none" dirty="0">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15637EE4-C874-41F8-FF49-D13714ED20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4024" y="1616530"/>
            <a:ext cx="7496269" cy="2366996"/>
          </a:xfrm>
          <a:prstGeom prst="rect">
            <a:avLst/>
          </a:prstGeom>
        </p:spPr>
      </p:pic>
    </p:spTree>
    <p:extLst>
      <p:ext uri="{BB962C8B-B14F-4D97-AF65-F5344CB8AC3E}">
        <p14:creationId xmlns:p14="http://schemas.microsoft.com/office/powerpoint/2010/main" val="1815156053"/>
      </p:ext>
    </p:extLst>
  </p:cSld>
  <p:clrMapOvr>
    <a:masterClrMapping/>
  </p:clrMapOvr>
  <p:transition spd="slow">
    <p:cove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1C92A-C3F5-DCF2-EB52-D8AC6DF5BA75}"/>
              </a:ext>
            </a:extLst>
          </p:cNvPr>
          <p:cNvSpPr>
            <a:spLocks noGrp="1"/>
          </p:cNvSpPr>
          <p:nvPr>
            <p:ph type="title"/>
          </p:nvPr>
        </p:nvSpPr>
        <p:spPr>
          <a:xfrm>
            <a:off x="803796" y="202019"/>
            <a:ext cx="10689999" cy="972143"/>
          </a:xfrm>
          <a:solidFill>
            <a:schemeClr val="accent5">
              <a:lumMod val="20000"/>
              <a:lumOff val="80000"/>
            </a:schemeClr>
          </a:solidFill>
        </p:spPr>
        <p:style>
          <a:lnRef idx="2">
            <a:schemeClr val="accent6"/>
          </a:lnRef>
          <a:fillRef idx="1">
            <a:schemeClr val="lt1"/>
          </a:fillRef>
          <a:effectRef idx="0">
            <a:schemeClr val="accent6"/>
          </a:effectRef>
          <a:fontRef idx="minor">
            <a:schemeClr val="dk1"/>
          </a:fontRef>
        </p:style>
        <p:txBody>
          <a:bodyPr>
            <a:noAutofit/>
          </a:bodyPr>
          <a:lstStyle/>
          <a:p>
            <a:br>
              <a:rPr lang="en-IN" sz="3200" b="1" u="sng" dirty="0">
                <a:solidFill>
                  <a:schemeClr val="tx1">
                    <a:lumMod val="90000"/>
                    <a:lumOff val="10000"/>
                  </a:schemeClr>
                </a:solidFill>
                <a:latin typeface="Sitka Small Semibold" pitchFamily="2" charset="0"/>
                <a:ea typeface="Calibri" panose="020F0502020204030204" pitchFamily="34" charset="0"/>
                <a:cs typeface="Times New Roman" panose="02020603050405020304" pitchFamily="18" charset="0"/>
              </a:rPr>
            </a:br>
            <a:r>
              <a:rPr lang="en-IN" sz="3200" b="1" u="sng" dirty="0">
                <a:solidFill>
                  <a:schemeClr val="tx1">
                    <a:lumMod val="90000"/>
                    <a:lumOff val="10000"/>
                  </a:schemeClr>
                </a:solidFill>
                <a:effectLst/>
                <a:latin typeface="Sitka Small Semibold" pitchFamily="2" charset="0"/>
                <a:ea typeface="Calibri" panose="020F0502020204030204" pitchFamily="34" charset="0"/>
                <a:cs typeface="Times New Roman" panose="02020603050405020304" pitchFamily="18" charset="0"/>
              </a:rPr>
              <a:t>TF-IDF vectorizer</a:t>
            </a:r>
            <a:br>
              <a:rPr lang="en-IN" sz="3200" b="1" u="sng" dirty="0">
                <a:solidFill>
                  <a:schemeClr val="tx1">
                    <a:lumMod val="90000"/>
                    <a:lumOff val="10000"/>
                  </a:schemeClr>
                </a:solidFill>
                <a:effectLst/>
                <a:latin typeface="Sitka Small Semibold" pitchFamily="2" charset="0"/>
                <a:ea typeface="Calibri" panose="020F0502020204030204" pitchFamily="34" charset="0"/>
                <a:cs typeface="Times New Roman" panose="02020603050405020304" pitchFamily="18" charset="0"/>
              </a:rPr>
            </a:br>
            <a:endParaRPr lang="en-IN" sz="3200" b="1" u="sng" dirty="0">
              <a:solidFill>
                <a:schemeClr val="tx1">
                  <a:lumMod val="90000"/>
                  <a:lumOff val="10000"/>
                </a:schemeClr>
              </a:solidFill>
              <a:latin typeface="Sitka Small Semibold" pitchFamily="2"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3A50187B-29AF-69AF-0709-F4F123F6855B}"/>
              </a:ext>
            </a:extLst>
          </p:cNvPr>
          <p:cNvSpPr>
            <a:spLocks noGrp="1"/>
          </p:cNvSpPr>
          <p:nvPr>
            <p:ph sz="quarter" idx="13"/>
          </p:nvPr>
        </p:nvSpPr>
        <p:spPr>
          <a:xfrm>
            <a:off x="803795" y="1318438"/>
            <a:ext cx="5862819" cy="5188688"/>
          </a:xfrm>
          <a:solidFill>
            <a:schemeClr val="tx1">
              <a:lumMod val="10000"/>
              <a:lumOff val="90000"/>
            </a:schemeClr>
          </a:solidFill>
        </p:spPr>
        <p:txBody>
          <a:bodyPr>
            <a:normAutofit fontScale="92500" lnSpcReduction="10000"/>
          </a:bodyPr>
          <a:lstStyle/>
          <a:p>
            <a:r>
              <a:rPr lang="en-US" dirty="0">
                <a:latin typeface="Times New Roman" panose="02020603050405020304" pitchFamily="18" charset="0"/>
                <a:cs typeface="Times New Roman" panose="02020603050405020304" pitchFamily="18" charset="0"/>
              </a:rPr>
              <a:t>TF-IDF </a:t>
            </a:r>
            <a:r>
              <a:rPr lang="en-US" cap="none" dirty="0">
                <a:latin typeface="Times New Roman" panose="02020603050405020304" pitchFamily="18" charset="0"/>
                <a:cs typeface="Times New Roman" panose="02020603050405020304" pitchFamily="18" charset="0"/>
              </a:rPr>
              <a:t>is the simple product of TF and IDF so that both of the drawback’s are addressed which makes predictions and information retrieval relevant.</a:t>
            </a:r>
            <a:endParaRPr lang="en-US" dirty="0">
              <a:latin typeface="Times New Roman" panose="02020603050405020304" pitchFamily="18" charset="0"/>
              <a:cs typeface="Times New Roman" panose="02020603050405020304" pitchFamily="18" charset="0"/>
            </a:endParaRPr>
          </a:p>
          <a:p>
            <a:r>
              <a:rPr lang="en-US" dirty="0">
                <a:solidFill>
                  <a:srgbClr val="FF0000"/>
                </a:solidFill>
                <a:latin typeface="Times New Roman" panose="02020603050405020304" pitchFamily="18" charset="0"/>
                <a:cs typeface="Times New Roman" panose="02020603050405020304" pitchFamily="18" charset="0"/>
              </a:rPr>
              <a:t>Term frequency(</a:t>
            </a:r>
            <a:r>
              <a:rPr lang="en-US" dirty="0" err="1">
                <a:solidFill>
                  <a:srgbClr val="FF0000"/>
                </a:solidFill>
                <a:latin typeface="Times New Roman" panose="02020603050405020304" pitchFamily="18" charset="0"/>
                <a:cs typeface="Times New Roman" panose="02020603050405020304" pitchFamily="18" charset="0"/>
              </a:rPr>
              <a:t>Tf</a:t>
            </a:r>
            <a:r>
              <a:rPr lang="en-US" dirty="0">
                <a:latin typeface="Times New Roman" panose="02020603050405020304" pitchFamily="18" charset="0"/>
                <a:cs typeface="Times New Roman" panose="02020603050405020304" pitchFamily="18" charset="0"/>
              </a:rPr>
              <a:t>): </a:t>
            </a:r>
            <a:r>
              <a:rPr lang="en-US" sz="1800" cap="none" dirty="0">
                <a:latin typeface="Times New Roman" panose="02020603050405020304" pitchFamily="18" charset="0"/>
                <a:cs typeface="Times New Roman" panose="02020603050405020304" pitchFamily="18" charset="0"/>
              </a:rPr>
              <a:t>Term frequency is simply the ratio of the count of a word present in a sentence to the length of the sentence. TF is basically capturing the importance of the word irrespective of the length of the document.</a:t>
            </a:r>
          </a:p>
          <a:p>
            <a:r>
              <a:rPr lang="en-IN" dirty="0">
                <a:solidFill>
                  <a:srgbClr val="FF0000"/>
                </a:solidFill>
                <a:latin typeface="Times New Roman" panose="02020603050405020304" pitchFamily="18" charset="0"/>
                <a:cs typeface="Times New Roman" panose="02020603050405020304" pitchFamily="18" charset="0"/>
              </a:rPr>
              <a:t>Inverse document </a:t>
            </a:r>
            <a:r>
              <a:rPr lang="en-US" dirty="0">
                <a:solidFill>
                  <a:srgbClr val="FF0000"/>
                </a:solidFill>
                <a:latin typeface="Times New Roman" panose="02020603050405020304" pitchFamily="18" charset="0"/>
                <a:cs typeface="Times New Roman" panose="02020603050405020304" pitchFamily="18" charset="0"/>
              </a:rPr>
              <a:t>frequency(</a:t>
            </a:r>
            <a:r>
              <a:rPr lang="en-US" dirty="0" err="1">
                <a:solidFill>
                  <a:srgbClr val="FF0000"/>
                </a:solidFill>
                <a:latin typeface="Times New Roman" panose="02020603050405020304" pitchFamily="18" charset="0"/>
                <a:cs typeface="Times New Roman" panose="02020603050405020304" pitchFamily="18" charset="0"/>
              </a:rPr>
              <a:t>idf</a:t>
            </a:r>
            <a:r>
              <a:rPr lang="en-US" dirty="0">
                <a:solidFill>
                  <a:srgbClr val="FF0000"/>
                </a:solidFill>
                <a:latin typeface="Times New Roman" panose="02020603050405020304" pitchFamily="18" charset="0"/>
                <a:cs typeface="Times New Roman" panose="02020603050405020304" pitchFamily="18" charset="0"/>
              </a:rPr>
              <a:t>): </a:t>
            </a:r>
            <a:r>
              <a:rPr lang="en-US" sz="1800" cap="none" dirty="0">
                <a:latin typeface="Times New Roman" panose="02020603050405020304" pitchFamily="18" charset="0"/>
                <a:cs typeface="Times New Roman" panose="02020603050405020304" pitchFamily="18" charset="0"/>
              </a:rPr>
              <a:t>IDF of each word is the log of the ratio of the total number of rows to the number of rows in a particular document in which that word is present. </a:t>
            </a:r>
          </a:p>
          <a:p>
            <a:pPr>
              <a:spcBef>
                <a:spcPts val="600"/>
              </a:spcBef>
            </a:pPr>
            <a:r>
              <a:rPr lang="en-US" cap="none" dirty="0">
                <a:latin typeface="Times New Roman" panose="02020603050405020304" pitchFamily="18" charset="0"/>
                <a:cs typeface="Times New Roman" panose="02020603050405020304" pitchFamily="18" charset="0"/>
              </a:rPr>
              <a:t>               IDF = log(N/n)</a:t>
            </a:r>
          </a:p>
          <a:p>
            <a:pPr marL="0" indent="0">
              <a:spcBef>
                <a:spcPts val="600"/>
              </a:spcBef>
              <a:buNone/>
            </a:pPr>
            <a:r>
              <a:rPr lang="en-US" cap="none" dirty="0">
                <a:latin typeface="Times New Roman" panose="02020603050405020304" pitchFamily="18" charset="0"/>
                <a:cs typeface="Times New Roman" panose="02020603050405020304" pitchFamily="18" charset="0"/>
              </a:rPr>
              <a:t>    </a:t>
            </a:r>
            <a:r>
              <a:rPr lang="en-US" sz="1600" cap="none" dirty="0">
                <a:latin typeface="Times New Roman" panose="02020603050405020304" pitchFamily="18" charset="0"/>
                <a:cs typeface="Times New Roman" panose="02020603050405020304" pitchFamily="18" charset="0"/>
              </a:rPr>
              <a:t>WHERE:     (N) IS THE TOTAL NUMBER OF ROWS AND </a:t>
            </a:r>
          </a:p>
          <a:p>
            <a:pPr marL="0" indent="0">
              <a:spcBef>
                <a:spcPts val="600"/>
              </a:spcBef>
              <a:buNone/>
            </a:pPr>
            <a:r>
              <a:rPr lang="en-US" sz="1600" cap="none" dirty="0">
                <a:latin typeface="Times New Roman" panose="02020603050405020304" pitchFamily="18" charset="0"/>
                <a:cs typeface="Times New Roman" panose="02020603050405020304" pitchFamily="18" charset="0"/>
              </a:rPr>
              <a:t>                         (n) IS THE NUMBER OF ROWS IN WHICH THE    </a:t>
            </a:r>
          </a:p>
          <a:p>
            <a:pPr marL="0" indent="0">
              <a:spcBef>
                <a:spcPts val="600"/>
              </a:spcBef>
              <a:buNone/>
            </a:pPr>
            <a:r>
              <a:rPr lang="en-US" sz="1600" cap="none" dirty="0">
                <a:latin typeface="Times New Roman" panose="02020603050405020304" pitchFamily="18" charset="0"/>
                <a:cs typeface="Times New Roman" panose="02020603050405020304" pitchFamily="18" charset="0"/>
              </a:rPr>
              <a:t>                                WORD WAS PRESENT.</a:t>
            </a:r>
            <a:endParaRPr lang="en-IN" sz="1600" cap="none" dirty="0">
              <a:latin typeface="Times New Roman" panose="02020603050405020304" pitchFamily="18" charset="0"/>
              <a:cs typeface="Times New Roman" panose="02020603050405020304" pitchFamily="18" charset="0"/>
            </a:endParaRPr>
          </a:p>
        </p:txBody>
      </p:sp>
      <p:pic>
        <p:nvPicPr>
          <p:cNvPr id="4098" name="Picture 2" descr="Text Vectorization and Word Embedding | Guide to Master NLP (Part 5)">
            <a:extLst>
              <a:ext uri="{FF2B5EF4-FFF2-40B4-BE49-F238E27FC236}">
                <a16:creationId xmlns:a16="http://schemas.microsoft.com/office/drawing/2014/main" id="{3B47B38A-463B-7EDB-518C-B9DFBF3340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42001" y="47054"/>
            <a:ext cx="2771775" cy="12577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Rectangle 3">
            <a:extLst>
              <a:ext uri="{FF2B5EF4-FFF2-40B4-BE49-F238E27FC236}">
                <a16:creationId xmlns:a16="http://schemas.microsoft.com/office/drawing/2014/main" id="{3EB1D807-F524-58F5-2F6A-D5B850298E42}"/>
              </a:ext>
            </a:extLst>
          </p:cNvPr>
          <p:cNvSpPr/>
          <p:nvPr/>
        </p:nvSpPr>
        <p:spPr>
          <a:xfrm>
            <a:off x="6847367" y="1435396"/>
            <a:ext cx="4837814" cy="1541721"/>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US" dirty="0">
                <a:solidFill>
                  <a:srgbClr val="FF0000"/>
                </a:solidFill>
                <a:latin typeface="Sitka Small Semibold" pitchFamily="2" charset="0"/>
              </a:rPr>
              <a:t>Feature engineering:</a:t>
            </a:r>
          </a:p>
          <a:p>
            <a:pPr algn="just"/>
            <a:endParaRPr lang="en-US" dirty="0">
              <a:solidFill>
                <a:srgbClr val="FF0000"/>
              </a:solidFill>
              <a:latin typeface="Sitka Small Semibold" pitchFamily="2" charset="0"/>
            </a:endParaRPr>
          </a:p>
          <a:p>
            <a:pPr algn="l"/>
            <a:r>
              <a:rPr lang="en-US" dirty="0">
                <a:solidFill>
                  <a:srgbClr val="FF0000"/>
                </a:solidFill>
                <a:latin typeface="Sitka Small Semibold" pitchFamily="2" charset="0"/>
              </a:rPr>
              <a:t> Review text, preprocessed one converted into vectors using (TFIDF</a:t>
            </a:r>
            <a:endParaRPr lang="en-IN" dirty="0">
              <a:solidFill>
                <a:srgbClr val="FF0000"/>
              </a:solidFill>
              <a:latin typeface="Sitka Small Semibold" pitchFamily="2" charset="0"/>
            </a:endParaRPr>
          </a:p>
        </p:txBody>
      </p:sp>
      <p:pic>
        <p:nvPicPr>
          <p:cNvPr id="6" name="Picture 5">
            <a:extLst>
              <a:ext uri="{FF2B5EF4-FFF2-40B4-BE49-F238E27FC236}">
                <a16:creationId xmlns:a16="http://schemas.microsoft.com/office/drawing/2014/main" id="{9A5240AF-74A4-A0AD-FCC6-89136F9ED2F3}"/>
              </a:ext>
            </a:extLst>
          </p:cNvPr>
          <p:cNvPicPr>
            <a:picLocks noChangeAspect="1"/>
          </p:cNvPicPr>
          <p:nvPr/>
        </p:nvPicPr>
        <p:blipFill>
          <a:blip r:embed="rId3"/>
          <a:stretch>
            <a:fillRect/>
          </a:stretch>
        </p:blipFill>
        <p:spPr>
          <a:xfrm>
            <a:off x="6847367" y="3429000"/>
            <a:ext cx="4959795" cy="2482702"/>
          </a:xfrm>
          <a:prstGeom prst="rect">
            <a:avLst/>
          </a:prstGeom>
        </p:spPr>
      </p:pic>
    </p:spTree>
    <p:extLst>
      <p:ext uri="{BB962C8B-B14F-4D97-AF65-F5344CB8AC3E}">
        <p14:creationId xmlns:p14="http://schemas.microsoft.com/office/powerpoint/2010/main" val="1840682368"/>
      </p:ext>
    </p:extLst>
  </p:cSld>
  <p:clrMapOvr>
    <a:masterClrMapping/>
  </p:clrMapOvr>
  <p:transition spd="slow">
    <p:cove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225AD-B2F2-7293-93C4-F90DFA301897}"/>
              </a:ext>
            </a:extLst>
          </p:cNvPr>
          <p:cNvSpPr>
            <a:spLocks noGrp="1"/>
          </p:cNvSpPr>
          <p:nvPr>
            <p:ph type="title"/>
          </p:nvPr>
        </p:nvSpPr>
        <p:spPr>
          <a:xfrm>
            <a:off x="901058" y="906052"/>
            <a:ext cx="10364451" cy="695739"/>
          </a:xfrm>
          <a:solidFill>
            <a:srgbClr val="92D050"/>
          </a:solidFill>
        </p:spPr>
        <p:style>
          <a:lnRef idx="3">
            <a:schemeClr val="lt1"/>
          </a:lnRef>
          <a:fillRef idx="1">
            <a:schemeClr val="accent3"/>
          </a:fillRef>
          <a:effectRef idx="1">
            <a:schemeClr val="accent3"/>
          </a:effectRef>
          <a:fontRef idx="minor">
            <a:schemeClr val="lt1"/>
          </a:fontRef>
        </p:style>
        <p:txBody>
          <a:bodyPr>
            <a:normAutofit/>
          </a:bodyPr>
          <a:lstStyle/>
          <a:p>
            <a:r>
              <a:rPr lang="en-IN" sz="3200" cap="none" dirty="0">
                <a:solidFill>
                  <a:srgbClr val="CC0000"/>
                </a:solidFill>
                <a:latin typeface="Times New Roman" panose="02020603050405020304" pitchFamily="18" charset="0"/>
                <a:cs typeface="Times New Roman" panose="02020603050405020304" pitchFamily="18" charset="0"/>
              </a:rPr>
              <a:t>Support Vector Machine:</a:t>
            </a:r>
            <a:endParaRPr lang="en-IN" sz="3200" cap="none"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B1AE2EF3-E005-77C2-AA38-467C9663C854}"/>
              </a:ext>
            </a:extLst>
          </p:cNvPr>
          <p:cNvSpPr>
            <a:spLocks noGrp="1"/>
          </p:cNvSpPr>
          <p:nvPr>
            <p:ph sz="quarter" idx="13"/>
          </p:nvPr>
        </p:nvSpPr>
        <p:spPr>
          <a:xfrm>
            <a:off x="901683" y="3732028"/>
            <a:ext cx="10363827" cy="2886508"/>
          </a:xfrm>
          <a:solidFill>
            <a:schemeClr val="bg1">
              <a:lumMod val="20000"/>
              <a:lumOff val="80000"/>
            </a:schemeClr>
          </a:solidFill>
        </p:spPr>
        <p:txBody>
          <a:bodyPr>
            <a:normAutofit fontScale="92500" lnSpcReduction="20000"/>
          </a:bodyPr>
          <a:lstStyle/>
          <a:p>
            <a:pPr algn="just"/>
            <a:r>
              <a:rPr lang="en-US" b="0" i="0" cap="none" dirty="0">
                <a:solidFill>
                  <a:srgbClr val="333333"/>
                </a:solidFill>
                <a:effectLst/>
                <a:latin typeface="Times New Roman" panose="02020603050405020304" pitchFamily="18" charset="0"/>
                <a:cs typeface="Times New Roman" panose="02020603050405020304" pitchFamily="18" charset="0"/>
              </a:rPr>
              <a:t>Support vector machine or SVM is one of the most popular supervised learning algorithms, which is used for classification as well as regression problems. However, primarily, it is used for classification problems in machine learning.</a:t>
            </a:r>
          </a:p>
          <a:p>
            <a:pPr algn="just"/>
            <a:r>
              <a:rPr lang="en-US" b="0" i="0" cap="none" dirty="0">
                <a:solidFill>
                  <a:srgbClr val="333333"/>
                </a:solidFill>
                <a:effectLst/>
                <a:latin typeface="Times New Roman" panose="02020603050405020304" pitchFamily="18" charset="0"/>
                <a:cs typeface="Times New Roman" panose="02020603050405020304" pitchFamily="18" charset="0"/>
              </a:rPr>
              <a:t>The goal of the </a:t>
            </a:r>
            <a:r>
              <a:rPr lang="en-US" b="0" i="0" cap="none" dirty="0" err="1">
                <a:solidFill>
                  <a:srgbClr val="333333"/>
                </a:solidFill>
                <a:effectLst/>
                <a:latin typeface="Times New Roman" panose="02020603050405020304" pitchFamily="18" charset="0"/>
                <a:cs typeface="Times New Roman" panose="02020603050405020304" pitchFamily="18" charset="0"/>
              </a:rPr>
              <a:t>svm</a:t>
            </a:r>
            <a:r>
              <a:rPr lang="en-US" b="0" i="0" cap="none" dirty="0">
                <a:solidFill>
                  <a:srgbClr val="333333"/>
                </a:solidFill>
                <a:effectLst/>
                <a:latin typeface="Times New Roman" panose="02020603050405020304" pitchFamily="18" charset="0"/>
                <a:cs typeface="Times New Roman" panose="02020603050405020304" pitchFamily="18" charset="0"/>
              </a:rPr>
              <a:t> algorithm is to create the best line or decision boundary that can segregate n-dimensional space into classes so that we can easily put the new data point in the correct category in the future. This best decision boundary is called a hyperplane.</a:t>
            </a:r>
          </a:p>
          <a:p>
            <a:pPr algn="just"/>
            <a:r>
              <a:rPr lang="en-US" b="0" i="0" cap="none" dirty="0" err="1">
                <a:solidFill>
                  <a:srgbClr val="333333"/>
                </a:solidFill>
                <a:effectLst/>
                <a:latin typeface="Times New Roman" panose="02020603050405020304" pitchFamily="18" charset="0"/>
                <a:cs typeface="Times New Roman" panose="02020603050405020304" pitchFamily="18" charset="0"/>
              </a:rPr>
              <a:t>Svm</a:t>
            </a:r>
            <a:r>
              <a:rPr lang="en-US" b="0" i="0" cap="none" dirty="0">
                <a:solidFill>
                  <a:srgbClr val="333333"/>
                </a:solidFill>
                <a:effectLst/>
                <a:latin typeface="Times New Roman" panose="02020603050405020304" pitchFamily="18" charset="0"/>
                <a:cs typeface="Times New Roman" panose="02020603050405020304" pitchFamily="18" charset="0"/>
              </a:rPr>
              <a:t> chooses the extreme points/vectors that help in creating the hyperplane. These extreme cases are called as support vectors, and hence algorithm is termed as support vector machine.</a:t>
            </a:r>
          </a:p>
          <a:p>
            <a:endParaRPr lang="en-IN" dirty="0"/>
          </a:p>
        </p:txBody>
      </p:sp>
      <p:pic>
        <p:nvPicPr>
          <p:cNvPr id="4" name="Picture 2" descr="How Does Support Vector Machine (SVM) Algorithm Works In Machine Learning?  | Analytics Steps">
            <a:extLst>
              <a:ext uri="{FF2B5EF4-FFF2-40B4-BE49-F238E27FC236}">
                <a16:creationId xmlns:a16="http://schemas.microsoft.com/office/drawing/2014/main" id="{BDC4B4AC-8ABE-30A9-2EF1-F1FEABF3DA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7257" y="1601791"/>
            <a:ext cx="5169824" cy="1967948"/>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1FE21A60-6522-4AD6-D0E8-F5CA3D1F87DD}"/>
              </a:ext>
            </a:extLst>
          </p:cNvPr>
          <p:cNvSpPr txBox="1">
            <a:spLocks/>
          </p:cNvSpPr>
          <p:nvPr/>
        </p:nvSpPr>
        <p:spPr>
          <a:xfrm>
            <a:off x="901059" y="197818"/>
            <a:ext cx="10364451" cy="695739"/>
          </a:xfrm>
          <a:prstGeom prst="rect">
            <a:avLst/>
          </a:prstGeom>
        </p:spPr>
        <p:style>
          <a:lnRef idx="3">
            <a:schemeClr val="lt1"/>
          </a:lnRef>
          <a:fillRef idx="1">
            <a:schemeClr val="accent3"/>
          </a:fillRef>
          <a:effectRef idx="1">
            <a:schemeClr val="accent3"/>
          </a:effectRef>
          <a:fontRef idx="minor">
            <a:schemeClr val="lt1"/>
          </a:fontRef>
        </p:style>
        <p:txBody>
          <a:bodyPr vert="horz" lIns="91440" tIns="45720" rIns="91440" bIns="45720" rtlCol="0" anchor="ctr">
            <a:normAutofit/>
          </a:bodyPr>
          <a:lstStyle>
            <a:lvl1pPr algn="ctr" defTabSz="914377" rtl="0" eaLnBrk="1" latinLnBrk="0" hangingPunct="1">
              <a:lnSpc>
                <a:spcPct val="90000"/>
              </a:lnSpc>
              <a:spcBef>
                <a:spcPct val="0"/>
              </a:spcBef>
              <a:buNone/>
              <a:defRPr sz="3600" kern="1200" cap="all" baseline="0">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IN" sz="2400" dirty="0">
                <a:latin typeface="Algerian" panose="04020705040A02060702" pitchFamily="82" charset="0"/>
                <a:ea typeface="Calibri" panose="020F0502020204030204" pitchFamily="34" charset="0"/>
                <a:cs typeface="Times New Roman" panose="02020603050405020304" pitchFamily="18" charset="0"/>
              </a:rPr>
              <a:t>Machine learning algorithm for classification:</a:t>
            </a:r>
            <a:endParaRPr lang="en-IN" sz="2400" dirty="0">
              <a:latin typeface="Algerian" panose="04020705040A02060702" pitchFamily="82" charset="0"/>
            </a:endParaRPr>
          </a:p>
        </p:txBody>
      </p:sp>
    </p:spTree>
    <p:extLst>
      <p:ext uri="{BB962C8B-B14F-4D97-AF65-F5344CB8AC3E}">
        <p14:creationId xmlns:p14="http://schemas.microsoft.com/office/powerpoint/2010/main" val="1409796378"/>
      </p:ext>
    </p:extLst>
  </p:cSld>
  <p:clrMapOvr>
    <a:masterClrMapping/>
  </p:clrMapOvr>
  <p:transition spd="slow">
    <p:cove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6275BE-7500-2842-8F95-CF0F2CE3A543}"/>
              </a:ext>
            </a:extLst>
          </p:cNvPr>
          <p:cNvSpPr>
            <a:spLocks noGrp="1"/>
          </p:cNvSpPr>
          <p:nvPr>
            <p:ph sz="quarter" idx="13"/>
          </p:nvPr>
        </p:nvSpPr>
        <p:spPr>
          <a:xfrm>
            <a:off x="499732" y="648587"/>
            <a:ext cx="6719776" cy="5560827"/>
          </a:xfrm>
          <a:solidFill>
            <a:srgbClr val="FFFFFF"/>
          </a:solidFill>
        </p:spPr>
        <p:txBody>
          <a:bodyPr/>
          <a:lstStyle/>
          <a:p>
            <a:pPr marL="0" indent="0">
              <a:buNone/>
            </a:pPr>
            <a:r>
              <a:rPr lang="en-US" sz="2000" b="1" u="sng" dirty="0">
                <a:solidFill>
                  <a:srgbClr val="00009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odel performance ( Accuracy, Precision, </a:t>
            </a:r>
            <a:r>
              <a:rPr lang="en-US" sz="2000" b="1" u="sng" dirty="0" err="1">
                <a:solidFill>
                  <a:srgbClr val="00009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Recall,F</a:t>
            </a:r>
            <a:r>
              <a:rPr lang="en-US" sz="2000" b="1" u="sng" dirty="0">
                <a:solidFill>
                  <a:srgbClr val="00009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score)</a:t>
            </a:r>
            <a:br>
              <a:rPr lang="en-US" sz="2000" b="1" u="sng" dirty="0">
                <a:solidFill>
                  <a:srgbClr val="00009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br>
            <a:r>
              <a:rPr lang="en-US" sz="2000" dirty="0">
                <a:solidFill>
                  <a:srgbClr val="000099"/>
                </a:solidFill>
                <a:latin typeface="Times New Roman" panose="02020603050405020304" pitchFamily="18" charset="0"/>
                <a:cs typeface="Times New Roman" panose="02020603050405020304" pitchFamily="18" charset="0"/>
              </a:rPr>
              <a:t>                   </a:t>
            </a:r>
            <a:r>
              <a:rPr kumimoji="0" lang="en-US" altLang="en-US" sz="2000" b="1" i="0" u="sng" strike="noStrike" cap="none" normalizeH="0" baseline="0" dirty="0">
                <a:ln>
                  <a:noFill/>
                </a:ln>
                <a:solidFill>
                  <a:schemeClr val="tx1"/>
                </a:solidFill>
                <a:effectLst>
                  <a:outerShdw blurRad="38100" dist="38100" dir="2700000" algn="tl">
                    <a:srgbClr val="000000">
                      <a:alpha val="43137"/>
                    </a:srgbClr>
                  </a:outerShdw>
                </a:effectLst>
                <a:latin typeface="Arial Unicode MS"/>
              </a:rPr>
              <a:t>SVM Classification Report</a:t>
            </a:r>
            <a:endParaRPr lang="en-IN" b="1" u="sng" dirty="0">
              <a:effectLst>
                <a:outerShdw blurRad="38100" dist="38100" dir="2700000" algn="tl">
                  <a:srgbClr val="000000">
                    <a:alpha val="43137"/>
                  </a:srgbClr>
                </a:outerShdw>
              </a:effectLst>
            </a:endParaRPr>
          </a:p>
        </p:txBody>
      </p:sp>
      <p:pic>
        <p:nvPicPr>
          <p:cNvPr id="6" name="Picture 5">
            <a:extLst>
              <a:ext uri="{FF2B5EF4-FFF2-40B4-BE49-F238E27FC236}">
                <a16:creationId xmlns:a16="http://schemas.microsoft.com/office/drawing/2014/main" id="{A70E295A-6554-64EB-27F2-3441AE2D8ECC}"/>
              </a:ext>
            </a:extLst>
          </p:cNvPr>
          <p:cNvPicPr>
            <a:picLocks noChangeAspect="1"/>
          </p:cNvPicPr>
          <p:nvPr/>
        </p:nvPicPr>
        <p:blipFill>
          <a:blip r:embed="rId2"/>
          <a:stretch>
            <a:fillRect/>
          </a:stretch>
        </p:blipFill>
        <p:spPr>
          <a:xfrm>
            <a:off x="917222" y="2060291"/>
            <a:ext cx="5572903" cy="3415476"/>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70E1D66D-4570-5FA8-3F1C-EE71E4C898FF}"/>
              </a:ext>
            </a:extLst>
          </p:cNvPr>
          <p:cNvPicPr>
            <a:picLocks noChangeAspect="1"/>
          </p:cNvPicPr>
          <p:nvPr/>
        </p:nvPicPr>
        <p:blipFill>
          <a:blip r:embed="rId3"/>
          <a:stretch>
            <a:fillRect/>
          </a:stretch>
        </p:blipFill>
        <p:spPr>
          <a:xfrm>
            <a:off x="1001680" y="5704458"/>
            <a:ext cx="5340189" cy="504955"/>
          </a:xfrm>
          <a:prstGeom prst="rect">
            <a:avLst/>
          </a:prstGeom>
          <a:ln>
            <a:noFill/>
          </a:ln>
          <a:effectLst>
            <a:outerShdw blurRad="292100" dist="139700" dir="2700000" algn="tl" rotWithShape="0">
              <a:srgbClr val="333333">
                <a:alpha val="65000"/>
              </a:srgbClr>
            </a:outerShdw>
          </a:effectLst>
        </p:spPr>
      </p:pic>
      <p:sp>
        <p:nvSpPr>
          <p:cNvPr id="9" name="Rectangle 8">
            <a:extLst>
              <a:ext uri="{FF2B5EF4-FFF2-40B4-BE49-F238E27FC236}">
                <a16:creationId xmlns:a16="http://schemas.microsoft.com/office/drawing/2014/main" id="{FFE68BBF-74C2-1617-80B1-68ADE6C4EC98}"/>
              </a:ext>
            </a:extLst>
          </p:cNvPr>
          <p:cNvSpPr/>
          <p:nvPr/>
        </p:nvSpPr>
        <p:spPr>
          <a:xfrm>
            <a:off x="7378995" y="754913"/>
            <a:ext cx="4313272" cy="925032"/>
          </a:xfrm>
          <a:prstGeom prst="rect">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u="sng" dirty="0">
                <a:ln>
                  <a:solidFill>
                    <a:srgbClr val="000099"/>
                  </a:solidFill>
                </a:ln>
                <a:solidFill>
                  <a:srgbClr val="00009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Confusion-matrix</a:t>
            </a:r>
            <a:r>
              <a:rPr lang="en-US" sz="2400" b="1" u="sng"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endParaRPr lang="en-IN" sz="2400" b="1" u="sng" dirty="0">
              <a:effectLst>
                <a:outerShdw blurRad="38100" dist="38100" dir="2700000" algn="tl">
                  <a:srgbClr val="000000">
                    <a:alpha val="43137"/>
                  </a:srgbClr>
                </a:outerShdw>
              </a:effectLst>
            </a:endParaRPr>
          </a:p>
        </p:txBody>
      </p:sp>
      <p:pic>
        <p:nvPicPr>
          <p:cNvPr id="11" name="Picture 10">
            <a:extLst>
              <a:ext uri="{FF2B5EF4-FFF2-40B4-BE49-F238E27FC236}">
                <a16:creationId xmlns:a16="http://schemas.microsoft.com/office/drawing/2014/main" id="{6B0272CF-1BD6-B973-0589-BC33269EA7C4}"/>
              </a:ext>
            </a:extLst>
          </p:cNvPr>
          <p:cNvPicPr>
            <a:picLocks noChangeAspect="1"/>
          </p:cNvPicPr>
          <p:nvPr/>
        </p:nvPicPr>
        <p:blipFill>
          <a:blip r:embed="rId4"/>
          <a:stretch>
            <a:fillRect/>
          </a:stretch>
        </p:blipFill>
        <p:spPr>
          <a:xfrm>
            <a:off x="7378995" y="1882923"/>
            <a:ext cx="4313273" cy="4220164"/>
          </a:xfrm>
          <a:prstGeom prst="rect">
            <a:avLst/>
          </a:prstGeom>
        </p:spPr>
      </p:pic>
    </p:spTree>
    <p:extLst>
      <p:ext uri="{BB962C8B-B14F-4D97-AF65-F5344CB8AC3E}">
        <p14:creationId xmlns:p14="http://schemas.microsoft.com/office/powerpoint/2010/main" val="3490098958"/>
      </p:ext>
    </p:extLst>
  </p:cSld>
  <p:clrMapOvr>
    <a:masterClrMapping/>
  </p:clrMapOvr>
  <p:transition spd="slow">
    <p:cove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FF65C-C316-245D-6D98-CEAEC795AE2B}"/>
              </a:ext>
            </a:extLst>
          </p:cNvPr>
          <p:cNvSpPr>
            <a:spLocks noGrp="1"/>
          </p:cNvSpPr>
          <p:nvPr>
            <p:ph type="title"/>
          </p:nvPr>
        </p:nvSpPr>
        <p:spPr>
          <a:xfrm>
            <a:off x="913776" y="181069"/>
            <a:ext cx="10364451" cy="1167897"/>
          </a:xfrm>
          <a:gradFill flip="none" rotWithShape="1">
            <a:gsLst>
              <a:gs pos="0">
                <a:schemeClr val="tx1">
                  <a:lumMod val="90000"/>
                  <a:lumOff val="10000"/>
                  <a:tint val="66000"/>
                  <a:satMod val="160000"/>
                </a:schemeClr>
              </a:gs>
              <a:gs pos="50000">
                <a:schemeClr val="tx1">
                  <a:lumMod val="90000"/>
                  <a:lumOff val="10000"/>
                  <a:tint val="44500"/>
                  <a:satMod val="160000"/>
                </a:schemeClr>
              </a:gs>
              <a:gs pos="100000">
                <a:schemeClr val="tx1">
                  <a:lumMod val="90000"/>
                  <a:lumOff val="10000"/>
                  <a:tint val="23500"/>
                  <a:satMod val="160000"/>
                </a:schemeClr>
              </a:gs>
            </a:gsLst>
            <a:lin ang="16200000" scaled="1"/>
            <a:tileRect/>
          </a:gradFill>
        </p:spPr>
        <p:txBody>
          <a:bodyPr>
            <a:normAutofit/>
          </a:bodyPr>
          <a:lstStyle/>
          <a:p>
            <a:r>
              <a:rPr lang="en-IN" sz="2800" dirty="0">
                <a:latin typeface="Algerian" panose="04020705040A02060702" pitchFamily="82" charset="0"/>
                <a:ea typeface="Calibri" panose="020F0502020204030204" pitchFamily="34" charset="0"/>
                <a:cs typeface="Times New Roman" panose="02020603050405020304" pitchFamily="18" charset="0"/>
              </a:rPr>
              <a:t>Sentiment</a:t>
            </a:r>
            <a:r>
              <a:rPr lang="en-IN" sz="2800" dirty="0">
                <a:latin typeface="Calibri" panose="020F0502020204030204" pitchFamily="34" charset="0"/>
                <a:ea typeface="Calibri" panose="020F0502020204030204" pitchFamily="34" charset="0"/>
                <a:cs typeface="Times New Roman" panose="02020603050405020304" pitchFamily="18" charset="0"/>
              </a:rPr>
              <a:t> </a:t>
            </a:r>
            <a:r>
              <a:rPr lang="en-IN" sz="2800" dirty="0">
                <a:latin typeface="Algerian" panose="04020705040A02060702" pitchFamily="82" charset="0"/>
                <a:ea typeface="Calibri" panose="020F0502020204030204" pitchFamily="34" charset="0"/>
                <a:cs typeface="Times New Roman" panose="02020603050405020304" pitchFamily="18" charset="0"/>
              </a:rPr>
              <a:t>Analysis</a:t>
            </a:r>
            <a:endParaRPr lang="en-IN" sz="2800" dirty="0">
              <a:latin typeface="Algerian" panose="04020705040A02060702" pitchFamily="82" charset="0"/>
            </a:endParaRPr>
          </a:p>
        </p:txBody>
      </p:sp>
      <p:sp>
        <p:nvSpPr>
          <p:cNvPr id="3" name="Content Placeholder 2">
            <a:extLst>
              <a:ext uri="{FF2B5EF4-FFF2-40B4-BE49-F238E27FC236}">
                <a16:creationId xmlns:a16="http://schemas.microsoft.com/office/drawing/2014/main" id="{7A4FE2CE-1C7D-28DF-7E36-150211FAF366}"/>
              </a:ext>
            </a:extLst>
          </p:cNvPr>
          <p:cNvSpPr>
            <a:spLocks noGrp="1"/>
          </p:cNvSpPr>
          <p:nvPr>
            <p:ph sz="quarter" idx="13"/>
          </p:nvPr>
        </p:nvSpPr>
        <p:spPr>
          <a:xfrm>
            <a:off x="913773" y="1548144"/>
            <a:ext cx="10363827" cy="4544312"/>
          </a:xfrm>
          <a:solidFill>
            <a:schemeClr val="bg1">
              <a:lumMod val="20000"/>
              <a:lumOff val="80000"/>
            </a:schemeClr>
          </a:solidFill>
        </p:spPr>
        <p:style>
          <a:lnRef idx="2">
            <a:schemeClr val="accent6"/>
          </a:lnRef>
          <a:fillRef idx="1">
            <a:schemeClr val="lt1"/>
          </a:fillRef>
          <a:effectRef idx="0">
            <a:schemeClr val="accent6"/>
          </a:effectRef>
          <a:fontRef idx="minor">
            <a:schemeClr val="dk1"/>
          </a:fontRef>
        </p:style>
        <p:txBody>
          <a:bodyPr>
            <a:normAutofit/>
          </a:bodyPr>
          <a:lstStyle/>
          <a:p>
            <a:pPr>
              <a:buFont typeface="Wingdings" panose="05000000000000000000" pitchFamily="2" charset="2"/>
              <a:buChar char="Ø"/>
            </a:pPr>
            <a:r>
              <a:rPr lang="en-IN" sz="1900" cap="none" dirty="0">
                <a:latin typeface="Arial" panose="020B0604020202020204" pitchFamily="34" charset="0"/>
                <a:ea typeface="Calibri" panose="020F0502020204030204" pitchFamily="34" charset="0"/>
                <a:cs typeface="Arial" panose="020B0604020202020204" pitchFamily="34" charset="0"/>
              </a:rPr>
              <a:t> </a:t>
            </a:r>
            <a:r>
              <a:rPr lang="en-IN" cap="none"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Sentiment analysis, also known as opinion mining, is a natural language processing (NLP) problem which means identifying and extracting subjective information of text sources. The purpose of sentiment classification is to </a:t>
            </a:r>
            <a:r>
              <a:rPr lang="en-IN" cap="none"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analyze</a:t>
            </a:r>
            <a:r>
              <a:rPr lang="en-IN" cap="none"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the written reviews of users and classify them into positive or negative opinions, so the system does not need to completely understand the semantics of each  phrase or document.</a:t>
            </a:r>
          </a:p>
          <a:p>
            <a:endParaRPr lang="en-IN" dirty="0"/>
          </a:p>
        </p:txBody>
      </p:sp>
      <p:pic>
        <p:nvPicPr>
          <p:cNvPr id="4" name="Picture 2" descr="Sentiment Analysis Services | iMerit">
            <a:extLst>
              <a:ext uri="{FF2B5EF4-FFF2-40B4-BE49-F238E27FC236}">
                <a16:creationId xmlns:a16="http://schemas.microsoft.com/office/drawing/2014/main" id="{E54BE6BA-1764-9175-2984-58F8FBDE421B}"/>
              </a:ext>
            </a:extLst>
          </p:cNvPr>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4082903" y="3592143"/>
            <a:ext cx="3486150" cy="1890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0905224"/>
      </p:ext>
    </p:extLst>
  </p:cSld>
  <p:clrMapOvr>
    <a:masterClrMapping/>
  </p:clrMapOvr>
  <p:transition spd="slow">
    <p:cove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831DBF-28EA-BAF6-146F-42CF4DC3362C}"/>
              </a:ext>
            </a:extLst>
          </p:cNvPr>
          <p:cNvSpPr>
            <a:spLocks noGrp="1"/>
          </p:cNvSpPr>
          <p:nvPr>
            <p:ph sz="quarter" idx="13"/>
          </p:nvPr>
        </p:nvSpPr>
        <p:spPr>
          <a:xfrm>
            <a:off x="584790" y="106326"/>
            <a:ext cx="11068493" cy="6638507"/>
          </a:xfrm>
          <a:solidFill>
            <a:srgbClr val="FFFFFF"/>
          </a:solidFill>
        </p:spPr>
        <p:txBody>
          <a:bodyPr>
            <a:normAutofit/>
          </a:bodyPr>
          <a:lstStyle/>
          <a:p>
            <a:pPr>
              <a:buFont typeface="Wingdings" panose="05000000000000000000" pitchFamily="2" charset="2"/>
              <a:buChar char="Ø"/>
            </a:pPr>
            <a:r>
              <a:rPr lang="en-US" sz="2800" cap="none" dirty="0">
                <a:latin typeface="Times New Roman" panose="02020603050405020304" pitchFamily="18" charset="0"/>
                <a:cs typeface="Times New Roman" panose="02020603050405020304" pitchFamily="18" charset="0"/>
              </a:rPr>
              <a:t>Sentiment scores</a:t>
            </a:r>
          </a:p>
          <a:p>
            <a:pPr marL="0" indent="0">
              <a:buNone/>
            </a:pPr>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Sentiment analysis: pretrained model takes the input from the text description and outputs the sentiment score ranging from -1 to +1 for each sentence.</a:t>
            </a:r>
          </a:p>
          <a:p>
            <a:pPr marL="0" indent="0">
              <a:buNone/>
            </a:pPr>
            <a:endParaRPr lang="en-IN" sz="2800" cap="none" dirty="0">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4FAF7AE4-457C-439C-2AAA-EFD261EB2C16}"/>
              </a:ext>
            </a:extLst>
          </p:cNvPr>
          <p:cNvPicPr>
            <a:picLocks noChangeAspect="1"/>
          </p:cNvPicPr>
          <p:nvPr/>
        </p:nvPicPr>
        <p:blipFill rotWithShape="1">
          <a:blip r:embed="rId2"/>
          <a:srcRect b="7912"/>
          <a:stretch/>
        </p:blipFill>
        <p:spPr>
          <a:xfrm>
            <a:off x="1323973" y="1602728"/>
            <a:ext cx="9544050" cy="1703997"/>
          </a:xfrm>
          <a:prstGeom prst="rect">
            <a:avLst/>
          </a:prstGeom>
        </p:spPr>
      </p:pic>
      <p:pic>
        <p:nvPicPr>
          <p:cNvPr id="5" name="Picture 4">
            <a:extLst>
              <a:ext uri="{FF2B5EF4-FFF2-40B4-BE49-F238E27FC236}">
                <a16:creationId xmlns:a16="http://schemas.microsoft.com/office/drawing/2014/main" id="{0CB65C30-DB50-D6AE-85C6-9036D2E0B7AD}"/>
              </a:ext>
            </a:extLst>
          </p:cNvPr>
          <p:cNvPicPr>
            <a:picLocks noChangeAspect="1"/>
          </p:cNvPicPr>
          <p:nvPr/>
        </p:nvPicPr>
        <p:blipFill rotWithShape="1">
          <a:blip r:embed="rId3"/>
          <a:srcRect b="30054"/>
          <a:stretch/>
        </p:blipFill>
        <p:spPr>
          <a:xfrm>
            <a:off x="1943098" y="3425579"/>
            <a:ext cx="8305801" cy="3123779"/>
          </a:xfrm>
          <a:prstGeom prst="rect">
            <a:avLst/>
          </a:prstGeom>
        </p:spPr>
      </p:pic>
    </p:spTree>
    <p:extLst>
      <p:ext uri="{BB962C8B-B14F-4D97-AF65-F5344CB8AC3E}">
        <p14:creationId xmlns:p14="http://schemas.microsoft.com/office/powerpoint/2010/main" val="335537200"/>
      </p:ext>
    </p:extLst>
  </p:cSld>
  <p:clrMapOvr>
    <a:masterClrMapping/>
  </p:clrMapOvr>
  <p:transition spd="slow">
    <p:cove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819EAA-3AE4-5E43-9FC7-053A3F92E893}"/>
              </a:ext>
            </a:extLst>
          </p:cNvPr>
          <p:cNvSpPr>
            <a:spLocks noGrp="1"/>
          </p:cNvSpPr>
          <p:nvPr>
            <p:ph sz="quarter" idx="13"/>
          </p:nvPr>
        </p:nvSpPr>
        <p:spPr>
          <a:xfrm>
            <a:off x="516049" y="506995"/>
            <a:ext cx="11235350" cy="6065822"/>
          </a:xfrm>
          <a:solidFill>
            <a:srgbClr val="FFFFFF"/>
          </a:solidFill>
        </p:spPr>
        <p:txBody>
          <a:bodyPr>
            <a:normAutofit lnSpcReduction="10000"/>
          </a:bodyPr>
          <a:lstStyle/>
          <a:p>
            <a:pPr marL="0" indent="0" algn="ctr">
              <a:buNone/>
            </a:pPr>
            <a:r>
              <a:rPr lang="en-IN" sz="3200" b="1" u="sng" cap="none" dirty="0">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cs typeface="Times New Roman" panose="02020603050405020304" pitchFamily="18" charset="0"/>
              </a:rPr>
              <a:t>Business insights</a:t>
            </a:r>
          </a:p>
          <a:p>
            <a:pPr marL="0" indent="0">
              <a:spcBef>
                <a:spcPts val="600"/>
              </a:spcBef>
              <a:buNone/>
            </a:pPr>
            <a:r>
              <a:rPr lang="en-IN"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A business insight combines data and analysis to find meaning in and increase understanding of a situation, resulting in some competitive advantage for your business</a:t>
            </a:r>
            <a:r>
              <a:rPr lang="en-IN" cap="none"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r>
              <a:rPr lang="en-IN" cap="none" dirty="0">
                <a:solidFill>
                  <a:srgbClr val="000000"/>
                </a:solidFill>
                <a:effectLst/>
                <a:latin typeface="Helvetica" panose="020B0604020202020204" pitchFamily="34" charset="0"/>
                <a:ea typeface="Calibri" panose="020F0502020204030204" pitchFamily="34" charset="0"/>
              </a:rPr>
              <a:t> </a:t>
            </a:r>
            <a:r>
              <a:rPr lang="en-IN"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This provides more than low-level understanding of an issue, giving you deeper insight into major mechanics related to your particular business</a:t>
            </a:r>
            <a:r>
              <a:rPr lang="en-IN" sz="18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a:t>
            </a:r>
          </a:p>
          <a:p>
            <a:pPr marL="0" indent="0">
              <a:spcBef>
                <a:spcPts val="600"/>
              </a:spcBef>
              <a:buNone/>
            </a:pPr>
            <a:endParaRPr lang="en-IN" sz="1800" cap="none"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a:p>
            <a:pPr marL="0" indent="0">
              <a:spcBef>
                <a:spcPts val="600"/>
              </a:spcBef>
              <a:buNone/>
            </a:pPr>
            <a:endPar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endParaRPr>
          </a:p>
          <a:p>
            <a:pPr marL="0" indent="0">
              <a:spcBef>
                <a:spcPts val="600"/>
              </a:spcBef>
              <a:buNone/>
            </a:pPr>
            <a:endParaRPr lang="en-IN" sz="1800" cap="none"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a:p>
            <a:pPr marL="0" indent="0">
              <a:spcBef>
                <a:spcPts val="600"/>
              </a:spcBef>
              <a:buNone/>
            </a:pPr>
            <a:endPar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endParaRPr>
          </a:p>
          <a:p>
            <a:pPr marL="0" indent="0">
              <a:spcBef>
                <a:spcPts val="600"/>
              </a:spcBef>
              <a:buNone/>
            </a:pPr>
            <a:endParaRPr lang="en-IN" sz="1800" cap="none"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a:p>
            <a:pPr marL="0" indent="0">
              <a:spcBef>
                <a:spcPts val="600"/>
              </a:spcBef>
              <a:buNone/>
            </a:pPr>
            <a:endPar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endParaRPr>
          </a:p>
          <a:p>
            <a:pPr marL="0" indent="0">
              <a:spcBef>
                <a:spcPts val="600"/>
              </a:spcBef>
              <a:buNone/>
            </a:pPr>
            <a:endParaRPr lang="en-IN" sz="1800" cap="none" dirty="0">
              <a:solidFill>
                <a:srgbClr val="000000"/>
              </a:solidFill>
              <a:latin typeface="Times New Roman" panose="02020603050405020304" pitchFamily="18" charset="0"/>
              <a:ea typeface="Calibri" panose="020F0502020204030204" pitchFamily="34" charset="0"/>
              <a:cs typeface="Times New Roman" panose="02020603050405020304" pitchFamily="18" charset="0"/>
            </a:endParaRPr>
          </a:p>
          <a:p>
            <a:pPr marL="0" indent="0">
              <a:spcBef>
                <a:spcPts val="600"/>
              </a:spcBef>
              <a:buNone/>
            </a:pPr>
            <a:endPar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endParaRPr>
          </a:p>
          <a:p>
            <a:pPr marL="0" indent="0">
              <a:spcBef>
                <a:spcPts val="600"/>
              </a:spcBef>
              <a:buNone/>
            </a:pPr>
            <a:endPar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endParaRPr>
          </a:p>
          <a:p>
            <a:r>
              <a:rPr lang="en-US" sz="1600" b="0" i="0" cap="none" dirty="0">
                <a:solidFill>
                  <a:schemeClr val="bg2">
                    <a:lumMod val="10000"/>
                  </a:schemeClr>
                </a:solidFill>
                <a:effectLst/>
                <a:latin typeface="Times New Roman" panose="02020603050405020304" pitchFamily="18" charset="0"/>
                <a:cs typeface="Times New Roman" panose="02020603050405020304" pitchFamily="18" charset="0"/>
              </a:rPr>
              <a:t>Many people agree with score 5 reviews</a:t>
            </a:r>
          </a:p>
          <a:p>
            <a:pPr>
              <a:spcBef>
                <a:spcPts val="0"/>
              </a:spcBef>
            </a:pPr>
            <a:r>
              <a:rPr lang="en-US" sz="1600" cap="none" dirty="0">
                <a:solidFill>
                  <a:schemeClr val="bg2">
                    <a:lumMod val="10000"/>
                  </a:schemeClr>
                </a:solidFill>
                <a:latin typeface="Times New Roman" panose="02020603050405020304" pitchFamily="18" charset="0"/>
                <a:cs typeface="Times New Roman" panose="02020603050405020304" pitchFamily="18" charset="0"/>
              </a:rPr>
              <a:t> Just took a sample of all reviews and completed sentiment analysis. If you look, more than 90% reviews are positive, which is really good for any business.</a:t>
            </a:r>
          </a:p>
          <a:p>
            <a:pPr marL="0" indent="0">
              <a:spcBef>
                <a:spcPts val="600"/>
              </a:spcBef>
              <a:buNone/>
            </a:pPr>
            <a:endParaRPr lang="en-IN" cap="none" dirty="0">
              <a:effectLst/>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636C5D58-18CD-C519-5A07-7D36FE45D701}"/>
              </a:ext>
            </a:extLst>
          </p:cNvPr>
          <p:cNvPicPr>
            <a:picLocks noChangeAspect="1"/>
          </p:cNvPicPr>
          <p:nvPr/>
        </p:nvPicPr>
        <p:blipFill>
          <a:blip r:embed="rId2"/>
          <a:stretch>
            <a:fillRect/>
          </a:stretch>
        </p:blipFill>
        <p:spPr>
          <a:xfrm>
            <a:off x="646940" y="2264735"/>
            <a:ext cx="5449060" cy="3200399"/>
          </a:xfrm>
          <a:prstGeom prst="rect">
            <a:avLst/>
          </a:prstGeom>
        </p:spPr>
      </p:pic>
      <p:pic>
        <p:nvPicPr>
          <p:cNvPr id="7" name="Picture 6">
            <a:extLst>
              <a:ext uri="{FF2B5EF4-FFF2-40B4-BE49-F238E27FC236}">
                <a16:creationId xmlns:a16="http://schemas.microsoft.com/office/drawing/2014/main" id="{16D48510-82FD-411B-E3EE-BDA297C0C1DC}"/>
              </a:ext>
            </a:extLst>
          </p:cNvPr>
          <p:cNvPicPr>
            <a:picLocks noChangeAspect="1"/>
          </p:cNvPicPr>
          <p:nvPr/>
        </p:nvPicPr>
        <p:blipFill>
          <a:blip r:embed="rId3"/>
          <a:stretch>
            <a:fillRect/>
          </a:stretch>
        </p:blipFill>
        <p:spPr>
          <a:xfrm>
            <a:off x="6226891" y="2264734"/>
            <a:ext cx="4997018" cy="3200399"/>
          </a:xfrm>
          <a:prstGeom prst="rect">
            <a:avLst/>
          </a:prstGeom>
        </p:spPr>
      </p:pic>
    </p:spTree>
    <p:extLst>
      <p:ext uri="{BB962C8B-B14F-4D97-AF65-F5344CB8AC3E}">
        <p14:creationId xmlns:p14="http://schemas.microsoft.com/office/powerpoint/2010/main" val="1441520517"/>
      </p:ext>
    </p:extLst>
  </p:cSld>
  <p:clrMapOvr>
    <a:masterClrMapping/>
  </p:clrMapOvr>
  <p:transition spd="slow">
    <p:cove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E3FFB-8262-5AE1-4639-3369CEB3E423}"/>
              </a:ext>
            </a:extLst>
          </p:cNvPr>
          <p:cNvSpPr>
            <a:spLocks noGrp="1"/>
          </p:cNvSpPr>
          <p:nvPr>
            <p:ph type="title"/>
          </p:nvPr>
        </p:nvSpPr>
        <p:spPr>
          <a:xfrm>
            <a:off x="925844" y="416392"/>
            <a:ext cx="10364451" cy="959736"/>
          </a:xfrm>
          <a:noFill/>
          <a:ln>
            <a:noFill/>
          </a:ln>
        </p:spPr>
        <p:style>
          <a:lnRef idx="1">
            <a:schemeClr val="accent5"/>
          </a:lnRef>
          <a:fillRef idx="2">
            <a:schemeClr val="accent5"/>
          </a:fillRef>
          <a:effectRef idx="1">
            <a:schemeClr val="accent5"/>
          </a:effectRef>
          <a:fontRef idx="minor">
            <a:schemeClr val="dk1"/>
          </a:fontRef>
        </p:style>
        <p:txBody>
          <a:bodyPr>
            <a:normAutofit fontScale="90000"/>
            <a:scene3d>
              <a:camera prst="orthographicFront"/>
              <a:lightRig rig="harsh" dir="t"/>
            </a:scene3d>
            <a:sp3d extrusionH="57150" prstMaterial="matte">
              <a:bevelT w="63500" h="12700" prst="angle"/>
              <a:contourClr>
                <a:schemeClr val="bg1">
                  <a:lumMod val="65000"/>
                </a:schemeClr>
              </a:contourClr>
            </a:sp3d>
          </a:bodyPr>
          <a:lstStyle/>
          <a:p>
            <a:pPr algn="ctr"/>
            <a:r>
              <a:rPr lang="en-IN" sz="4400" b="1" cap="none" dirty="0">
                <a:ln/>
                <a:solidFill>
                  <a:schemeClr val="accent3"/>
                </a:solidFill>
                <a:latin typeface="Calibri" panose="020F0502020204030204" pitchFamily="34" charset="0"/>
                <a:ea typeface="Calibri" panose="020F0502020204030204" pitchFamily="34" charset="0"/>
                <a:cs typeface="Times New Roman" panose="02020603050405020304" pitchFamily="18" charset="0"/>
              </a:rPr>
              <a:t>                     </a:t>
            </a:r>
            <a:br>
              <a:rPr lang="en-IN" sz="4400" b="1" cap="none" dirty="0">
                <a:ln/>
                <a:solidFill>
                  <a:schemeClr val="accent3"/>
                </a:solidFill>
                <a:latin typeface="Calibri" panose="020F0502020204030204" pitchFamily="34" charset="0"/>
                <a:ea typeface="Calibri" panose="020F0502020204030204" pitchFamily="34" charset="0"/>
                <a:cs typeface="Times New Roman" panose="02020603050405020304" pitchFamily="18" charset="0"/>
              </a:rPr>
            </a:br>
            <a:r>
              <a:rPr lang="en-IN" sz="4400" b="1" cap="none" dirty="0">
                <a:solidFill>
                  <a:srgbClr val="FF0000"/>
                </a:solidFill>
                <a:latin typeface="Castellar" panose="020A0402060406010301" pitchFamily="18" charset="0"/>
                <a:ea typeface="Calibri" panose="020F0502020204030204" pitchFamily="34" charset="0"/>
                <a:cs typeface="Times New Roman" panose="02020603050405020304" pitchFamily="18" charset="0"/>
              </a:rPr>
              <a:t>Abstract</a:t>
            </a:r>
            <a:br>
              <a:rPr lang="en-IN" sz="1800" b="1" cap="none" dirty="0">
                <a:ln/>
                <a:solidFill>
                  <a:schemeClr val="accent3"/>
                </a:solidFill>
                <a:latin typeface="Calibri" panose="020F0502020204030204" pitchFamily="34" charset="0"/>
                <a:ea typeface="Calibri" panose="020F0502020204030204" pitchFamily="34" charset="0"/>
                <a:cs typeface="Times New Roman" panose="02020603050405020304" pitchFamily="18" charset="0"/>
              </a:rPr>
            </a:br>
            <a:endParaRPr lang="en-IN" b="1" cap="none" dirty="0">
              <a:ln/>
              <a:solidFill>
                <a:schemeClr val="accent3"/>
              </a:solidFill>
            </a:endParaRPr>
          </a:p>
        </p:txBody>
      </p:sp>
      <p:sp>
        <p:nvSpPr>
          <p:cNvPr id="3" name="Content Placeholder 2">
            <a:extLst>
              <a:ext uri="{FF2B5EF4-FFF2-40B4-BE49-F238E27FC236}">
                <a16:creationId xmlns:a16="http://schemas.microsoft.com/office/drawing/2014/main" id="{A8AA87E4-C3EC-983B-1885-EF7D1C136854}"/>
              </a:ext>
            </a:extLst>
          </p:cNvPr>
          <p:cNvSpPr>
            <a:spLocks noGrp="1"/>
          </p:cNvSpPr>
          <p:nvPr>
            <p:ph sz="quarter" idx="13"/>
          </p:nvPr>
        </p:nvSpPr>
        <p:spPr>
          <a:xfrm>
            <a:off x="724277" y="1557196"/>
            <a:ext cx="10846052" cy="4680642"/>
          </a:xfrm>
          <a:solidFill>
            <a:schemeClr val="bg1">
              <a:lumMod val="40000"/>
              <a:lumOff val="60000"/>
            </a:schemeClr>
          </a:solidFill>
          <a:ln>
            <a:noFill/>
          </a:ln>
        </p:spPr>
        <p:style>
          <a:lnRef idx="1">
            <a:schemeClr val="accent5"/>
          </a:lnRef>
          <a:fillRef idx="2">
            <a:schemeClr val="accent5"/>
          </a:fillRef>
          <a:effectRef idx="1">
            <a:schemeClr val="accent5"/>
          </a:effectRef>
          <a:fontRef idx="minor">
            <a:schemeClr val="dk1"/>
          </a:fontRef>
        </p:style>
        <p:txBody>
          <a:bodyPr anchor="t">
            <a:normAutofit/>
          </a:bodyPr>
          <a:lstStyle/>
          <a:p>
            <a:pPr marL="0" indent="0" algn="just">
              <a:buNone/>
            </a:pPr>
            <a:r>
              <a:rPr lang="en-IN" cap="none"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Sentiment analysis or determining the opinion is study about the people’s sentiment, emotions and opinion that is expressed in terms of text. It’s very popular because it helps us in understanding the opinions of other people. Which is the key influencer and important part of almost all human activities. The opinion of the people can be either positive or negative. The main objective of our work is to build a machine learning ensemble model for sentiment analysis. Ensemble strategies combine various learning algorithms to gain optimum performance. The amazon fine food reviews dataset has been used. The proposed model has been evaluated using various performance metrics such as accuracy, recall and precision</a:t>
            </a:r>
            <a:r>
              <a:rPr lang="en-IN" cap="none"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a:t>
            </a:r>
          </a:p>
          <a:p>
            <a:pPr marL="0" indent="0" algn="just">
              <a:buNone/>
            </a:pPr>
            <a:r>
              <a:rPr lang="en-IN" cap="none"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Keywords: sentiment analysis, machine learning, precision, recall, natural language processing, accuracy, amazon fine food reviews.</a:t>
            </a:r>
          </a:p>
          <a:p>
            <a:pPr marL="0" indent="0" algn="just">
              <a:buNone/>
            </a:pPr>
            <a:endParaRPr lang="en-IN" dirty="0">
              <a:solidFill>
                <a:schemeClr val="tx1"/>
              </a:solidFill>
              <a:latin typeface="Times New Roman" panose="02020603050405020304" pitchFamily="18" charset="0"/>
              <a:ea typeface="Calibri" panose="020F0502020204030204" pitchFamily="34" charset="0"/>
              <a:cs typeface="Times New Roman" panose="02020603050405020304" pitchFamily="18" charset="0"/>
            </a:endParaRPr>
          </a:p>
          <a:p>
            <a:pPr>
              <a:buFont typeface="Wingdings" panose="05000000000000000000" pitchFamily="2" charset="2"/>
              <a:buChar char="q"/>
            </a:pPr>
            <a:endParaRPr lang="en-IN" dirty="0"/>
          </a:p>
        </p:txBody>
      </p:sp>
    </p:spTree>
    <p:extLst>
      <p:ext uri="{BB962C8B-B14F-4D97-AF65-F5344CB8AC3E}">
        <p14:creationId xmlns:p14="http://schemas.microsoft.com/office/powerpoint/2010/main" val="3316346444"/>
      </p:ext>
    </p:extLst>
  </p:cSld>
  <p:clrMapOvr>
    <a:masterClrMapping/>
  </p:clrMapOvr>
  <p:transition spd="slow">
    <p:cove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3C46B6A-E7A3-8473-54E5-B434886FAB04}"/>
              </a:ext>
            </a:extLst>
          </p:cNvPr>
          <p:cNvSpPr>
            <a:spLocks noGrp="1"/>
          </p:cNvSpPr>
          <p:nvPr>
            <p:ph sz="quarter" idx="13"/>
          </p:nvPr>
        </p:nvSpPr>
        <p:spPr>
          <a:xfrm>
            <a:off x="624689" y="543208"/>
            <a:ext cx="10652911" cy="5938555"/>
          </a:xfrm>
          <a:solidFill>
            <a:schemeClr val="bg1">
              <a:lumMod val="20000"/>
              <a:lumOff val="80000"/>
            </a:schemeClr>
          </a:solidFill>
        </p:spPr>
        <p:txBody>
          <a:bodyPr/>
          <a:lstStyle/>
          <a:p>
            <a:pPr marL="457200" algn="just">
              <a:lnSpc>
                <a:spcPct val="107000"/>
              </a:lnSpc>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514356" indent="-285750" algn="just">
              <a:lnSpc>
                <a:spcPct val="107000"/>
              </a:lnSpc>
              <a:buFont typeface="Wingdings" panose="05000000000000000000" pitchFamily="2" charset="2"/>
              <a:buChar char="Ø"/>
            </a:pPr>
            <a:r>
              <a:rPr lang="en-IN" sz="3200" cap="none" dirty="0">
                <a:effectLst/>
                <a:latin typeface="Times New Roman" panose="02020603050405020304" pitchFamily="18" charset="0"/>
                <a:ea typeface="Calibri" panose="020F0502020204030204" pitchFamily="34" charset="0"/>
                <a:cs typeface="Times New Roman" panose="02020603050405020304" pitchFamily="18" charset="0"/>
              </a:rPr>
              <a:t>References:</a:t>
            </a:r>
          </a:p>
          <a:p>
            <a:pPr marL="342900" lvl="0" indent="-342900" algn="just">
              <a:lnSpc>
                <a:spcPct val="107000"/>
              </a:lnSpc>
              <a:buFont typeface="+mj-lt"/>
              <a:buAutoNum type="arabicPeriod"/>
            </a:pP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McAuley, J.J. And </a:t>
            </a:r>
            <a:r>
              <a:rPr lang="en-IN" sz="1800" cap="none" dirty="0" err="1">
                <a:latin typeface="Times New Roman" panose="02020603050405020304" pitchFamily="18" charset="0"/>
                <a:ea typeface="Calibri" panose="020F0502020204030204" pitchFamily="34" charset="0"/>
                <a:cs typeface="Times New Roman" panose="02020603050405020304" pitchFamily="18" charset="0"/>
              </a:rPr>
              <a:t>L</a:t>
            </a:r>
            <a:r>
              <a:rPr lang="en-IN" sz="1800" cap="none" dirty="0" err="1">
                <a:effectLst/>
                <a:latin typeface="Times New Roman" panose="02020603050405020304" pitchFamily="18" charset="0"/>
                <a:ea typeface="Calibri" panose="020F0502020204030204" pitchFamily="34" charset="0"/>
                <a:cs typeface="Times New Roman" panose="02020603050405020304" pitchFamily="18" charset="0"/>
              </a:rPr>
              <a:t>eskovec</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 J., 2013, may. From amateurs to connoisseurs: </a:t>
            </a:r>
            <a:r>
              <a:rPr lang="en-IN" sz="1800" cap="none" dirty="0" err="1">
                <a:latin typeface="Times New Roman" panose="02020603050405020304" pitchFamily="18" charset="0"/>
                <a:ea typeface="Calibri" panose="020F0502020204030204" pitchFamily="34" charset="0"/>
                <a:cs typeface="Times New Roman" panose="02020603050405020304" pitchFamily="18" charset="0"/>
              </a:rPr>
              <a:t>M</a:t>
            </a:r>
            <a:r>
              <a:rPr lang="en-IN" sz="1800" cap="none" dirty="0" err="1">
                <a:effectLst/>
                <a:latin typeface="Times New Roman" panose="02020603050405020304" pitchFamily="18" charset="0"/>
                <a:ea typeface="Calibri" panose="020F0502020204030204" pitchFamily="34" charset="0"/>
                <a:cs typeface="Times New Roman" panose="02020603050405020304" pitchFamily="18" charset="0"/>
              </a:rPr>
              <a:t>odeling</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 the evolution of user expertise through online reviews. In proceedings of the 22nd international conference on world wide web (pp. 897-908). ACM</a:t>
            </a:r>
          </a:p>
          <a:p>
            <a:pPr marL="342900" lvl="0" indent="-342900" algn="just">
              <a:lnSpc>
                <a:spcPct val="107000"/>
              </a:lnSpc>
              <a:buFont typeface="+mj-lt"/>
              <a:buAutoNum type="arabicPeriod"/>
            </a:pP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Natural language processing recipes: unlocking text data with machine learning and deep learning using python. Akshay </a:t>
            </a:r>
            <a:r>
              <a:rPr lang="en-IN" sz="1800" cap="none" dirty="0">
                <a:latin typeface="Times New Roman" panose="02020603050405020304" pitchFamily="18" charset="0"/>
                <a:ea typeface="Calibri" panose="020F0502020204030204" pitchFamily="34" charset="0"/>
                <a:cs typeface="Times New Roman" panose="02020603050405020304" pitchFamily="18" charset="0"/>
              </a:rPr>
              <a:t>K</a:t>
            </a: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ulkarni, Adarsha shivananda,2019.</a:t>
            </a:r>
          </a:p>
          <a:p>
            <a:pPr marL="342900" lvl="0" indent="-342900" algn="just">
              <a:lnSpc>
                <a:spcPct val="107000"/>
              </a:lnSpc>
              <a:buFont typeface="+mj-lt"/>
              <a:buAutoNum type="arabicPeriod"/>
            </a:pP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NLTK(</a:t>
            </a:r>
            <a:r>
              <a:rPr lang="en-IN" sz="1800" u="sng" cap="none" dirty="0">
                <a:solidFill>
                  <a:srgbClr val="0000FF"/>
                </a:solidFill>
                <a:effectLst/>
                <a:latin typeface="Times New Roman" panose="02020603050405020304" pitchFamily="18" charset="0"/>
                <a:ea typeface="Calibri" panose="020F0502020204030204" pitchFamily="34" charset="0"/>
                <a:cs typeface="Times New Roman" panose="02020603050405020304" pitchFamily="18" charset="0"/>
                <a:hlinkClick r:id="rId2"/>
              </a:rPr>
              <a:t>www.Nltk.Org(http://www.Nltk.Org/)</a:t>
            </a: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mj-lt"/>
              <a:buAutoNum type="arabicPeriod"/>
            </a:pP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Text blob (</a:t>
            </a:r>
            <a:r>
              <a:rPr lang="en-IN" sz="1800" u="sng" cap="none" dirty="0">
                <a:solidFill>
                  <a:srgbClr val="0000FF"/>
                </a:solidFill>
                <a:effectLst/>
                <a:latin typeface="Times New Roman" panose="02020603050405020304" pitchFamily="18" charset="0"/>
                <a:ea typeface="Calibri" panose="020F0502020204030204" pitchFamily="34" charset="0"/>
                <a:cs typeface="Times New Roman" panose="02020603050405020304" pitchFamily="18" charset="0"/>
                <a:hlinkClick r:id="rId3"/>
              </a:rPr>
              <a:t>http://textblob.Readthedocs.Io/en/dev/</a:t>
            </a: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Scikit-learn user guide. </a:t>
            </a:r>
            <a:r>
              <a:rPr lang="en-IN" sz="1800" u="sng" cap="none" dirty="0">
                <a:solidFill>
                  <a:srgbClr val="0000FF"/>
                </a:solidFill>
                <a:effectLst/>
                <a:latin typeface="Times New Roman" panose="02020603050405020304" pitchFamily="18" charset="0"/>
                <a:ea typeface="Calibri" panose="020F0502020204030204" pitchFamily="34" charset="0"/>
                <a:cs typeface="Times New Roman" panose="02020603050405020304" pitchFamily="18" charset="0"/>
                <a:hlinkClick r:id="rId4"/>
              </a:rPr>
              <a:t>Https://scikitlearn.Org/stable//downloads/scikit-learn-docs.Pdf</a:t>
            </a:r>
            <a:r>
              <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a:t>
            </a: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Hands on machine learning with scikit-learn, </a:t>
            </a:r>
            <a:r>
              <a:rPr lang="en-IN" sz="1800" cap="none" dirty="0" err="1">
                <a:solidFill>
                  <a:srgbClr val="000000"/>
                </a:solidFill>
                <a:latin typeface="Times New Roman" panose="02020603050405020304" pitchFamily="18" charset="0"/>
                <a:ea typeface="Calibri" panose="020F0502020204030204" pitchFamily="34" charset="0"/>
                <a:cs typeface="Times New Roman" panose="02020603050405020304" pitchFamily="18" charset="0"/>
              </a:rPr>
              <a:t>K</a:t>
            </a:r>
            <a:r>
              <a:rPr lang="en-IN" sz="1800" cap="none" dirty="0" err="1">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eras</a:t>
            </a:r>
            <a:r>
              <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 and Tensor flow. </a:t>
            </a:r>
            <a:r>
              <a:rPr lang="en-IN" sz="1800" cap="none" dirty="0" err="1">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AurelienGeron</a:t>
            </a:r>
            <a:r>
              <a:rPr lang="en-IN" sz="1800" cap="none"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 </a:t>
            </a:r>
          </a:p>
          <a:p>
            <a:pPr marL="342900" lvl="0" indent="-342900">
              <a:lnSpc>
                <a:spcPct val="107000"/>
              </a:lnSpc>
              <a:buFont typeface="+mj-lt"/>
              <a:buAutoNum type="arabicPeriod"/>
            </a:pPr>
            <a:r>
              <a:rPr lang="en-US" sz="1800" cap="none"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GitHub Code link: </a:t>
            </a:r>
            <a:r>
              <a:rPr lang="en-US" sz="1800" cap="none" dirty="0">
                <a:solidFill>
                  <a:srgbClr val="000000"/>
                </a:solidFill>
                <a:latin typeface="Times New Roman" panose="02020603050405020304" pitchFamily="18" charset="0"/>
                <a:ea typeface="Calibri" panose="020F0502020204030204" pitchFamily="34" charset="0"/>
                <a:cs typeface="Times New Roman" panose="02020603050405020304" pitchFamily="18" charset="0"/>
                <a:hlinkClick r:id="rId5" action="ppaction://hlinksldjump"/>
              </a:rPr>
              <a:t>https://github.com/dattesh2507/Amazon-Fine-Food-Review-Analysis</a:t>
            </a: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endParaRPr lang="en-IN" dirty="0"/>
          </a:p>
        </p:txBody>
      </p:sp>
    </p:spTree>
    <p:extLst>
      <p:ext uri="{BB962C8B-B14F-4D97-AF65-F5344CB8AC3E}">
        <p14:creationId xmlns:p14="http://schemas.microsoft.com/office/powerpoint/2010/main" val="25812013"/>
      </p:ext>
    </p:extLst>
  </p:cSld>
  <p:clrMapOvr>
    <a:masterClrMapping/>
  </p:clrMapOvr>
  <p:transition spd="slow">
    <p:cove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5">
            <a:extLst>
              <a:ext uri="{FF2B5EF4-FFF2-40B4-BE49-F238E27FC236}">
                <a16:creationId xmlns:a16="http://schemas.microsoft.com/office/drawing/2014/main" id="{3F27862F-C3EB-8ECC-664E-685F7271EC53}"/>
              </a:ext>
            </a:extLst>
          </p:cNvPr>
          <p:cNvPicPr>
            <a:picLocks noGrp="1" noChangeAspect="1"/>
          </p:cNvPicPr>
          <p:nvPr>
            <p:ph sz="quarter" idx="13"/>
          </p:nvPr>
        </p:nvPicPr>
        <p:blipFill rotWithShape="1">
          <a:blip r:embed="rId2"/>
          <a:srcRect b="50486"/>
          <a:stretch/>
        </p:blipFill>
        <p:spPr>
          <a:xfrm>
            <a:off x="1107292" y="706438"/>
            <a:ext cx="9977416" cy="55499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494120701"/>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C7002-D2E0-1787-4687-0A1B387B1EBF}"/>
              </a:ext>
            </a:extLst>
          </p:cNvPr>
          <p:cNvSpPr>
            <a:spLocks noGrp="1"/>
          </p:cNvSpPr>
          <p:nvPr>
            <p:ph type="title"/>
          </p:nvPr>
        </p:nvSpPr>
        <p:spPr>
          <a:xfrm>
            <a:off x="506994" y="618519"/>
            <a:ext cx="10891319" cy="839089"/>
          </a:xfrm>
        </p:spPr>
        <p:txBody>
          <a:bodyPr>
            <a:noAutofit/>
          </a:bodyPr>
          <a:lstStyle/>
          <a:p>
            <a:pPr marL="768966">
              <a:lnSpc>
                <a:spcPct val="107000"/>
              </a:lnSpc>
              <a:spcAft>
                <a:spcPts val="800"/>
              </a:spcAft>
            </a:pPr>
            <a:br>
              <a:rPr lang="en-IN" sz="3200" dirty="0">
                <a:latin typeface="Algerian" panose="04020705040A02060702" pitchFamily="82" charset="0"/>
                <a:ea typeface="Calibri" panose="020F0502020204030204" pitchFamily="34" charset="0"/>
                <a:cs typeface="Times New Roman" panose="02020603050405020304" pitchFamily="18" charset="0"/>
              </a:rPr>
            </a:br>
            <a:br>
              <a:rPr lang="en-IN" sz="3200" dirty="0">
                <a:latin typeface="Algerian" panose="04020705040A02060702" pitchFamily="82" charset="0"/>
                <a:ea typeface="Calibri" panose="020F0502020204030204" pitchFamily="34" charset="0"/>
                <a:cs typeface="Times New Roman" panose="02020603050405020304" pitchFamily="18" charset="0"/>
              </a:rPr>
            </a:br>
            <a:br>
              <a:rPr lang="en-IN" sz="3200" dirty="0">
                <a:latin typeface="Algerian" panose="04020705040A02060702" pitchFamily="82" charset="0"/>
                <a:ea typeface="Calibri" panose="020F0502020204030204" pitchFamily="34" charset="0"/>
                <a:cs typeface="Times New Roman" panose="02020603050405020304" pitchFamily="18" charset="0"/>
              </a:rPr>
            </a:br>
            <a:r>
              <a:rPr lang="en-IN" sz="3200" dirty="0">
                <a:latin typeface="Algerian" panose="04020705040A02060702" pitchFamily="82" charset="0"/>
                <a:ea typeface="Calibri" panose="020F0502020204030204" pitchFamily="34" charset="0"/>
                <a:cs typeface="Times New Roman" panose="02020603050405020304" pitchFamily="18" charset="0"/>
              </a:rPr>
              <a:t>Introduction</a:t>
            </a:r>
            <a:br>
              <a:rPr lang="en-IN" sz="3200" dirty="0">
                <a:latin typeface="Algerian" panose="04020705040A02060702" pitchFamily="82" charset="0"/>
                <a:ea typeface="Calibri" panose="020F0502020204030204" pitchFamily="34" charset="0"/>
                <a:cs typeface="Times New Roman" panose="02020603050405020304" pitchFamily="18" charset="0"/>
              </a:rPr>
            </a:br>
            <a:br>
              <a:rPr lang="en-IN" sz="3200" dirty="0">
                <a:latin typeface="Algerian" panose="04020705040A02060702" pitchFamily="82" charset="0"/>
                <a:ea typeface="Calibri" panose="020F0502020204030204" pitchFamily="34" charset="0"/>
                <a:cs typeface="Times New Roman" panose="02020603050405020304" pitchFamily="18" charset="0"/>
              </a:rPr>
            </a:br>
            <a:r>
              <a:rPr lang="en-IN" sz="3200" dirty="0">
                <a:latin typeface="Algerian" panose="04020705040A02060702" pitchFamily="82" charset="0"/>
                <a:ea typeface="Calibri" panose="020F0502020204030204" pitchFamily="34" charset="0"/>
                <a:cs typeface="Times New Roman" panose="02020603050405020304" pitchFamily="18" charset="0"/>
              </a:rPr>
              <a:t> </a:t>
            </a:r>
            <a:br>
              <a:rPr lang="en-IN" sz="3200" dirty="0">
                <a:latin typeface="Algerian" panose="04020705040A02060702" pitchFamily="82" charset="0"/>
                <a:ea typeface="Calibri" panose="020F0502020204030204" pitchFamily="34" charset="0"/>
                <a:cs typeface="Times New Roman" panose="02020603050405020304" pitchFamily="18" charset="0"/>
              </a:rPr>
            </a:br>
            <a:endParaRPr lang="en-IN" sz="3200" dirty="0">
              <a:latin typeface="Algerian" panose="04020705040A02060702" pitchFamily="82" charset="0"/>
            </a:endParaRPr>
          </a:p>
        </p:txBody>
      </p:sp>
      <p:sp>
        <p:nvSpPr>
          <p:cNvPr id="3" name="Content Placeholder 2">
            <a:extLst>
              <a:ext uri="{FF2B5EF4-FFF2-40B4-BE49-F238E27FC236}">
                <a16:creationId xmlns:a16="http://schemas.microsoft.com/office/drawing/2014/main" id="{A0A6D0A6-B954-47F2-AF05-35A229C01049}"/>
              </a:ext>
            </a:extLst>
          </p:cNvPr>
          <p:cNvSpPr>
            <a:spLocks noGrp="1"/>
          </p:cNvSpPr>
          <p:nvPr>
            <p:ph sz="quarter" idx="13"/>
          </p:nvPr>
        </p:nvSpPr>
        <p:spPr>
          <a:xfrm>
            <a:off x="506994" y="1557195"/>
            <a:ext cx="10981853" cy="4979407"/>
          </a:xfrm>
        </p:spPr>
        <p:style>
          <a:lnRef idx="2">
            <a:schemeClr val="accent2"/>
          </a:lnRef>
          <a:fillRef idx="1">
            <a:schemeClr val="lt1"/>
          </a:fillRef>
          <a:effectRef idx="0">
            <a:schemeClr val="accent2"/>
          </a:effectRef>
          <a:fontRef idx="minor">
            <a:schemeClr val="dk1"/>
          </a:fontRef>
        </p:style>
        <p:txBody>
          <a:bodyPr>
            <a:normAutofit fontScale="25000" lnSpcReduction="20000"/>
          </a:bodyPr>
          <a:lstStyle/>
          <a:p>
            <a:pPr marL="0" indent="0" algn="just">
              <a:buNone/>
            </a:pPr>
            <a:r>
              <a:rPr lang="en-US" sz="11200" cap="none" dirty="0">
                <a:solidFill>
                  <a:srgbClr val="FF0000"/>
                </a:solidFill>
                <a:latin typeface="Arial" panose="020B0604020202020204" pitchFamily="34" charset="0"/>
                <a:ea typeface="Calibri" panose="020F0502020204030204" pitchFamily="34" charset="0"/>
                <a:cs typeface="Arial" panose="020B0604020202020204" pitchFamily="34" charset="0"/>
              </a:rPr>
              <a:t>Problem:</a:t>
            </a:r>
            <a:r>
              <a:rPr lang="en-US" sz="8000" cap="none" dirty="0">
                <a:solidFill>
                  <a:schemeClr val="bg2">
                    <a:lumMod val="50000"/>
                  </a:schemeClr>
                </a:solidFill>
                <a:latin typeface="Arial" panose="020B0604020202020204" pitchFamily="34" charset="0"/>
                <a:ea typeface="Calibri" panose="020F0502020204030204" pitchFamily="34" charset="0"/>
                <a:cs typeface="Arial" panose="020B0604020202020204" pitchFamily="34" charset="0"/>
              </a:rPr>
              <a:t>                                                                                                                 </a:t>
            </a:r>
          </a:p>
          <a:p>
            <a:pPr marL="0" indent="0" algn="just">
              <a:buNone/>
            </a:pPr>
            <a:r>
              <a:rPr lang="en-IN" sz="8000" cap="none" dirty="0">
                <a:latin typeface="Times New Roman" panose="02020603050405020304" pitchFamily="18" charset="0"/>
                <a:ea typeface="Calibri" panose="020F0502020204030204" pitchFamily="34" charset="0"/>
                <a:cs typeface="Times New Roman" panose="02020603050405020304" pitchFamily="18" charset="0"/>
              </a:rPr>
              <a:t>Understand how products are doing in the market. How are customers reacting to a particular product what is the consumer’s sentiment across products? Many more questions like these can be answered using sentiment analysis.</a:t>
            </a:r>
          </a:p>
          <a:p>
            <a:pPr marL="0" indent="0" algn="just">
              <a:lnSpc>
                <a:spcPct val="107000"/>
              </a:lnSpc>
              <a:spcAft>
                <a:spcPts val="800"/>
              </a:spcAft>
              <a:buNone/>
            </a:pPr>
            <a:r>
              <a:rPr lang="en-IN" sz="11200" cap="none" dirty="0">
                <a:solidFill>
                  <a:srgbClr val="FC2C16"/>
                </a:solidFill>
                <a:latin typeface="Arial" panose="020B0604020202020204" pitchFamily="34" charset="0"/>
                <a:ea typeface="Calibri" panose="020F0502020204030204" pitchFamily="34" charset="0"/>
                <a:cs typeface="Arial" panose="020B0604020202020204" pitchFamily="34" charset="0"/>
              </a:rPr>
              <a:t>Objective:</a:t>
            </a:r>
            <a:r>
              <a:rPr lang="en-IN" sz="11200" cap="none" dirty="0">
                <a:solidFill>
                  <a:srgbClr val="FC2C16"/>
                </a:solidFill>
                <a:latin typeface="Castellar" panose="020A0402060406010301" pitchFamily="18" charset="0"/>
                <a:ea typeface="Calibri" panose="020F0502020204030204" pitchFamily="34" charset="0"/>
                <a:cs typeface="Times New Roman" panose="02020603050405020304" pitchFamily="18" charset="0"/>
              </a:rPr>
              <a:t>                                                                                                                                                     </a:t>
            </a:r>
            <a:r>
              <a:rPr lang="en-IN" sz="8000" cap="none" dirty="0">
                <a:latin typeface="Times New Roman" panose="02020603050405020304" pitchFamily="18" charset="0"/>
                <a:ea typeface="Calibri" panose="020F0502020204030204" pitchFamily="34" charset="0"/>
                <a:cs typeface="Times New Roman" panose="02020603050405020304" pitchFamily="18" charset="0"/>
              </a:rPr>
              <a:t>One of the popular NLP industrial applications – sentiment analysis.  It is very important from a business standpoint  to understand how customer feedback is on the products/services they offer to improvise on the products service for  customer satisfaction.</a:t>
            </a:r>
          </a:p>
          <a:p>
            <a:pPr marL="0" indent="0" algn="just">
              <a:lnSpc>
                <a:spcPct val="107000"/>
              </a:lnSpc>
              <a:spcAft>
                <a:spcPts val="800"/>
              </a:spcAft>
              <a:buNone/>
            </a:pPr>
            <a:r>
              <a:rPr lang="en-IN" sz="8000" cap="none" dirty="0">
                <a:latin typeface="Times New Roman" panose="02020603050405020304" pitchFamily="18" charset="0"/>
                <a:ea typeface="Calibri" panose="020F0502020204030204" pitchFamily="34" charset="0"/>
                <a:cs typeface="Times New Roman" panose="02020603050405020304" pitchFamily="18" charset="0"/>
              </a:rPr>
              <a:t>    The main objective of this project is find the best model that classifies the review accurately using    natural language processing and machine learning techniques. First converting the plain text into vectors using few conversion techniques. Various models such as support vector machine, TF-IDF  vectorizer, count vectorizer, logistic regression, multinomial naïve bayes. Are used, among them the model which classifies more accurately is considered as the best classifier by using f1-score accuracy as performance metric</a:t>
            </a:r>
            <a:r>
              <a:rPr lang="en-IN" sz="7200" cap="none" dirty="0">
                <a:latin typeface="Arial" panose="020B0604020202020204" pitchFamily="34" charset="0"/>
                <a:ea typeface="Calibri" panose="020F0502020204030204" pitchFamily="34" charset="0"/>
                <a:cs typeface="Arial" panose="020B0604020202020204" pitchFamily="34" charset="0"/>
              </a:rPr>
              <a:t>s.</a:t>
            </a:r>
          </a:p>
          <a:p>
            <a:pPr marL="586091" indent="0">
              <a:lnSpc>
                <a:spcPct val="107000"/>
              </a:lnSpc>
              <a:spcAft>
                <a:spcPts val="800"/>
              </a:spcAft>
              <a:buNone/>
            </a:pPr>
            <a:r>
              <a:rPr lang="en-IN" sz="7200" cap="none" dirty="0">
                <a:latin typeface="Arial" panose="020B0604020202020204" pitchFamily="34" charset="0"/>
                <a:ea typeface="Calibri" panose="020F0502020204030204" pitchFamily="34" charset="0"/>
                <a:cs typeface="Arial" panose="020B0604020202020204" pitchFamily="34" charset="0"/>
              </a:rPr>
              <a:t> </a:t>
            </a:r>
          </a:p>
          <a:p>
            <a:pPr marL="0" indent="0" algn="just">
              <a:lnSpc>
                <a:spcPct val="107000"/>
              </a:lnSpc>
              <a:spcAft>
                <a:spcPts val="800"/>
              </a:spcAft>
              <a:buNone/>
            </a:pPr>
            <a:endParaRPr lang="en-IN" sz="8000" cap="none" dirty="0">
              <a:latin typeface="Baskerville Old Face" panose="02020602080505020303" pitchFamily="18" charset="0"/>
              <a:ea typeface="Calibri" panose="020F0502020204030204" pitchFamily="34" charset="0"/>
              <a:cs typeface="Times New Roman" panose="02020603050405020304" pitchFamily="18" charset="0"/>
            </a:endParaRPr>
          </a:p>
          <a:p>
            <a:pPr marL="0" indent="0" algn="just">
              <a:lnSpc>
                <a:spcPct val="107000"/>
              </a:lnSpc>
              <a:spcAft>
                <a:spcPts val="800"/>
              </a:spcAft>
              <a:buNone/>
            </a:pPr>
            <a:endParaRPr lang="en-IN" sz="8000" cap="none" dirty="0">
              <a:latin typeface="Calibri" panose="020F0502020204030204" pitchFamily="34" charset="0"/>
              <a:ea typeface="Calibri" panose="020F0502020204030204" pitchFamily="34" charset="0"/>
              <a:cs typeface="Times New Roman" panose="02020603050405020304" pitchFamily="18" charset="0"/>
            </a:endParaRPr>
          </a:p>
          <a:p>
            <a:pPr marL="0" indent="0" algn="just">
              <a:lnSpc>
                <a:spcPct val="107000"/>
              </a:lnSpc>
              <a:spcAft>
                <a:spcPts val="800"/>
              </a:spcAft>
              <a:buNone/>
            </a:pPr>
            <a:r>
              <a:rPr lang="en-IN" sz="8000" cap="none" dirty="0">
                <a:latin typeface="Calibri" panose="020F0502020204030204" pitchFamily="34" charset="0"/>
                <a:ea typeface="Calibri" panose="020F0502020204030204" pitchFamily="34" charset="0"/>
                <a:cs typeface="Times New Roman" panose="02020603050405020304" pitchFamily="18" charset="0"/>
              </a:rPr>
              <a:t> </a:t>
            </a:r>
          </a:p>
          <a:p>
            <a:pPr marL="0" indent="0">
              <a:buNone/>
            </a:pPr>
            <a:endParaRPr lang="en-IN" cap="none" dirty="0">
              <a:solidFill>
                <a:schemeClr val="bg2">
                  <a:lumMod val="50000"/>
                </a:schemeClr>
              </a:solidFill>
              <a:latin typeface="Bahnschrift SemiBold" panose="020B0502040204020203" pitchFamily="34" charset="0"/>
              <a:ea typeface="Calibri" panose="020F0502020204030204" pitchFamily="34" charset="0"/>
              <a:cs typeface="Times New Roman" panose="02020603050405020304" pitchFamily="18" charset="0"/>
            </a:endParaRPr>
          </a:p>
          <a:p>
            <a:pPr marL="0" indent="0">
              <a:buNone/>
            </a:pPr>
            <a:endParaRPr lang="en-IN" cap="none" dirty="0">
              <a:latin typeface="Bahnschrift SemiBold SemiConden" panose="020B0502040204020203" pitchFamily="34" charset="0"/>
            </a:endParaRPr>
          </a:p>
        </p:txBody>
      </p:sp>
    </p:spTree>
    <p:extLst>
      <p:ext uri="{BB962C8B-B14F-4D97-AF65-F5344CB8AC3E}">
        <p14:creationId xmlns:p14="http://schemas.microsoft.com/office/powerpoint/2010/main" val="810072618"/>
      </p:ext>
    </p:extLst>
  </p:cSld>
  <p:clrMapOvr>
    <a:masterClrMapping/>
  </p:clrMapOvr>
  <p:transition spd="slow">
    <p:cov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1D0705-1D23-EC85-5C26-2D46F62C73DD}"/>
              </a:ext>
            </a:extLst>
          </p:cNvPr>
          <p:cNvSpPr>
            <a:spLocks noGrp="1"/>
          </p:cNvSpPr>
          <p:nvPr>
            <p:ph type="title"/>
          </p:nvPr>
        </p:nvSpPr>
        <p:spPr>
          <a:xfrm>
            <a:off x="841973" y="538613"/>
            <a:ext cx="10563770" cy="1056371"/>
          </a:xfrm>
        </p:spPr>
        <p:txBody>
          <a:bodyPr/>
          <a:lstStyle/>
          <a:p>
            <a:pPr algn="l"/>
            <a:r>
              <a:rPr lang="en-IN" dirty="0">
                <a:latin typeface="Arial" panose="020B0604020202020204" pitchFamily="34" charset="0"/>
                <a:cs typeface="Arial" panose="020B0604020202020204" pitchFamily="34" charset="0"/>
              </a:rPr>
              <a:t>   </a:t>
            </a:r>
            <a:r>
              <a:rPr lang="en-IN" cap="none" dirty="0">
                <a:latin typeface="Arial" panose="020B0604020202020204" pitchFamily="34" charset="0"/>
                <a:ea typeface="Calibri" panose="020F0502020204030204" pitchFamily="34" charset="0"/>
                <a:cs typeface="Arial" panose="020B0604020202020204" pitchFamily="34" charset="0"/>
              </a:rPr>
              <a:t>Overview:</a:t>
            </a:r>
            <a:r>
              <a:rPr lang="en-IN" cap="none" dirty="0">
                <a:latin typeface="Arial" panose="020B0604020202020204" pitchFamily="34" charset="0"/>
                <a:cs typeface="Arial" panose="020B0604020202020204" pitchFamily="34" charset="0"/>
              </a:rPr>
              <a:t>  </a:t>
            </a:r>
            <a:r>
              <a:rPr lang="en-IN" dirty="0">
                <a:latin typeface="Arial" panose="020B0604020202020204" pitchFamily="34" charset="0"/>
                <a:cs typeface="Arial" panose="020B0604020202020204" pitchFamily="34" charset="0"/>
              </a:rPr>
              <a:t>   </a:t>
            </a:r>
          </a:p>
        </p:txBody>
      </p:sp>
      <p:sp>
        <p:nvSpPr>
          <p:cNvPr id="3" name="Content Placeholder 2">
            <a:extLst>
              <a:ext uri="{FF2B5EF4-FFF2-40B4-BE49-F238E27FC236}">
                <a16:creationId xmlns:a16="http://schemas.microsoft.com/office/drawing/2014/main" id="{20C97064-E14D-BF71-4E04-8DCA3FB0FFE6}"/>
              </a:ext>
            </a:extLst>
          </p:cNvPr>
          <p:cNvSpPr>
            <a:spLocks noGrp="1"/>
          </p:cNvSpPr>
          <p:nvPr>
            <p:ph sz="quarter" idx="13"/>
          </p:nvPr>
        </p:nvSpPr>
        <p:spPr>
          <a:xfrm>
            <a:off x="552262" y="1412341"/>
            <a:ext cx="11153870" cy="5097101"/>
          </a:xfrm>
          <a:gradFill flip="none" rotWithShape="1">
            <a:gsLst>
              <a:gs pos="0">
                <a:schemeClr val="lt1">
                  <a:tint val="66000"/>
                  <a:satMod val="160000"/>
                </a:schemeClr>
              </a:gs>
              <a:gs pos="50000">
                <a:schemeClr val="lt1">
                  <a:tint val="44500"/>
                  <a:satMod val="160000"/>
                </a:schemeClr>
              </a:gs>
              <a:gs pos="100000">
                <a:schemeClr val="lt1">
                  <a:tint val="23500"/>
                  <a:satMod val="160000"/>
                </a:schemeClr>
              </a:gs>
            </a:gsLst>
            <a:lin ang="16200000" scaled="1"/>
            <a:tileRect/>
          </a:gradFill>
        </p:spPr>
        <p:style>
          <a:lnRef idx="2">
            <a:schemeClr val="accent1"/>
          </a:lnRef>
          <a:fillRef idx="1">
            <a:schemeClr val="lt1"/>
          </a:fillRef>
          <a:effectRef idx="0">
            <a:schemeClr val="accent1"/>
          </a:effectRef>
          <a:fontRef idx="minor">
            <a:schemeClr val="dk1"/>
          </a:fontRef>
        </p:style>
        <p:txBody>
          <a:bodyPr>
            <a:normAutofit lnSpcReduction="10000"/>
          </a:bodyPr>
          <a:lstStyle/>
          <a:p>
            <a:pPr marL="388619" indent="-342900">
              <a:buFont typeface="Wingdings" panose="05000000000000000000" pitchFamily="2" charset="2"/>
              <a:buChar char="Ø"/>
            </a:pPr>
            <a:r>
              <a:rPr lang="en-US" sz="1900" cap="none" dirty="0">
                <a:solidFill>
                  <a:schemeClr val="tx2">
                    <a:lumMod val="50000"/>
                  </a:schemeClr>
                </a:solidFill>
                <a:latin typeface="Times New Roman" panose="02020603050405020304" pitchFamily="18" charset="0"/>
                <a:cs typeface="Times New Roman" panose="02020603050405020304" pitchFamily="18" charset="0"/>
              </a:rPr>
              <a:t>Amazon.com  is an American multinational technology company focusing on e- commerce, cloud computing, online advertising, digital streaming and </a:t>
            </a:r>
            <a:r>
              <a:rPr lang="en-US" sz="1900" cap="none" dirty="0" err="1">
                <a:solidFill>
                  <a:schemeClr val="tx2">
                    <a:lumMod val="50000"/>
                  </a:schemeClr>
                </a:solidFill>
                <a:latin typeface="Times New Roman" panose="02020603050405020304" pitchFamily="18" charset="0"/>
                <a:cs typeface="Times New Roman" panose="02020603050405020304" pitchFamily="18" charset="0"/>
              </a:rPr>
              <a:t>artifical</a:t>
            </a:r>
            <a:r>
              <a:rPr lang="en-US" sz="1900" cap="none" dirty="0">
                <a:solidFill>
                  <a:schemeClr val="tx2">
                    <a:lumMod val="50000"/>
                  </a:schemeClr>
                </a:solidFill>
                <a:latin typeface="Times New Roman" panose="02020603050405020304" pitchFamily="18" charset="0"/>
                <a:cs typeface="Times New Roman" panose="02020603050405020304" pitchFamily="18" charset="0"/>
              </a:rPr>
              <a:t> intelligence. It has been often referred to as “one of the most influential economic and cultural forces in the world most valuable brands.</a:t>
            </a:r>
          </a:p>
          <a:p>
            <a:pPr marL="388619" indent="-342900">
              <a:buFont typeface="Wingdings" panose="05000000000000000000" pitchFamily="2" charset="2"/>
              <a:buChar char="Ø"/>
            </a:pPr>
            <a:r>
              <a:rPr lang="en-IN" sz="1900" b="0" i="0" cap="none" dirty="0">
                <a:solidFill>
                  <a:schemeClr val="tx2">
                    <a:lumMod val="50000"/>
                  </a:schemeClr>
                </a:solidFill>
                <a:effectLst/>
                <a:latin typeface="Times New Roman" panose="02020603050405020304" pitchFamily="18" charset="0"/>
                <a:cs typeface="Times New Roman" panose="02020603050405020304" pitchFamily="18" charset="0"/>
              </a:rPr>
              <a:t>Amazon.com  is an online retailer and web service provider. The company provides products such as apparel, auto and industrial items, beauty and health products, electronics, grocery, games, </a:t>
            </a:r>
            <a:r>
              <a:rPr lang="en-IN" sz="1900" b="0" i="0" cap="none" dirty="0" err="1">
                <a:solidFill>
                  <a:schemeClr val="tx2">
                    <a:lumMod val="50000"/>
                  </a:schemeClr>
                </a:solidFill>
                <a:effectLst/>
                <a:latin typeface="Times New Roman" panose="02020603050405020304" pitchFamily="18" charset="0"/>
                <a:cs typeface="Times New Roman" panose="02020603050405020304" pitchFamily="18" charset="0"/>
              </a:rPr>
              <a:t>jewelry</a:t>
            </a:r>
            <a:r>
              <a:rPr lang="en-IN" sz="1900" b="0" i="0" cap="none" dirty="0">
                <a:solidFill>
                  <a:schemeClr val="tx2">
                    <a:lumMod val="50000"/>
                  </a:schemeClr>
                </a:solidFill>
                <a:effectLst/>
                <a:latin typeface="Times New Roman" panose="02020603050405020304" pitchFamily="18" charset="0"/>
                <a:cs typeface="Times New Roman" panose="02020603050405020304" pitchFamily="18" charset="0"/>
              </a:rPr>
              <a:t>, kids and baby products, music, sports goods, toys, and tools.</a:t>
            </a:r>
          </a:p>
          <a:p>
            <a:pPr marL="388619" indent="-342900">
              <a:buFont typeface="Wingdings" panose="05000000000000000000" pitchFamily="2" charset="2"/>
              <a:buChar char="Ø"/>
            </a:pPr>
            <a:r>
              <a:rPr lang="en-IN" sz="1900" cap="none" spc="-5" dirty="0">
                <a:solidFill>
                  <a:schemeClr val="tx2">
                    <a:lumMod val="50000"/>
                  </a:schemeClr>
                </a:solidFill>
                <a:latin typeface="Times New Roman" panose="02020603050405020304" pitchFamily="18" charset="0"/>
                <a:ea typeface="Times New Roman" panose="02020603050405020304" pitchFamily="18" charset="0"/>
                <a:cs typeface="Times New Roman" panose="02020603050405020304" pitchFamily="18" charset="0"/>
              </a:rPr>
              <a:t>Amazon reviews are often the most publicly visible reviews of consumer products. As a frequent amazon user, I was interested in examining the structure of a large database of amazon reviews and visualizing this information so as to be a smarter consumer and reviewe</a:t>
            </a:r>
            <a:r>
              <a:rPr lang="en-IN" sz="1900" i="1" cap="none" spc="-5" dirty="0">
                <a:solidFill>
                  <a:schemeClr val="tx2">
                    <a:lumMod val="50000"/>
                  </a:schemeClr>
                </a:solidFill>
                <a:latin typeface="Times New Roman" panose="02020603050405020304" pitchFamily="18" charset="0"/>
                <a:ea typeface="Times New Roman" panose="02020603050405020304" pitchFamily="18" charset="0"/>
                <a:cs typeface="Times New Roman" panose="02020603050405020304" pitchFamily="18" charset="0"/>
              </a:rPr>
              <a:t>r</a:t>
            </a:r>
            <a:endParaRPr lang="en-IN" sz="1900" cap="none" dirty="0">
              <a:solidFill>
                <a:schemeClr val="tx2">
                  <a:lumMod val="50000"/>
                </a:schemeClr>
              </a:solidFill>
              <a:latin typeface="Times New Roman" panose="02020603050405020304" pitchFamily="18" charset="0"/>
              <a:ea typeface="Times New Roman" panose="02020603050405020304" pitchFamily="18" charset="0"/>
              <a:cs typeface="Times New Roman" panose="02020603050405020304" pitchFamily="18" charset="0"/>
            </a:endParaRPr>
          </a:p>
          <a:p>
            <a:pPr marL="45719" indent="0">
              <a:lnSpc>
                <a:spcPct val="107000"/>
              </a:lnSpc>
              <a:spcAft>
                <a:spcPts val="800"/>
              </a:spcAft>
              <a:buNone/>
            </a:pPr>
            <a:r>
              <a:rPr lang="en-IN" sz="1900" dirty="0">
                <a:latin typeface="Times New Roman" panose="02020603050405020304" pitchFamily="18" charset="0"/>
                <a:ea typeface="Calibri" panose="020F0502020204030204" pitchFamily="34" charset="0"/>
                <a:cs typeface="Times New Roman" panose="02020603050405020304" pitchFamily="18" charset="0"/>
              </a:rPr>
              <a:t> </a:t>
            </a:r>
          </a:p>
          <a:p>
            <a:pPr marL="45719" indent="0">
              <a:lnSpc>
                <a:spcPct val="107000"/>
              </a:lnSpc>
              <a:spcAft>
                <a:spcPts val="800"/>
              </a:spcAft>
              <a:buNone/>
            </a:pPr>
            <a:r>
              <a:rPr lang="en-IN" sz="1800" dirty="0">
                <a:latin typeface="Calibri" panose="020F0502020204030204" pitchFamily="34" charset="0"/>
                <a:ea typeface="Calibri" panose="020F0502020204030204" pitchFamily="34" charset="0"/>
                <a:cs typeface="Calibri" panose="020F0502020204030204" pitchFamily="34" charset="0"/>
              </a:rPr>
              <a:t> </a:t>
            </a:r>
            <a:endParaRPr lang="en-IN" sz="1800" dirty="0">
              <a:latin typeface="Calibri" panose="020F0502020204030204" pitchFamily="34" charset="0"/>
              <a:ea typeface="Calibri" panose="020F0502020204030204" pitchFamily="34" charset="0"/>
              <a:cs typeface="Times New Roman" panose="02020603050405020304" pitchFamily="18" charset="0"/>
            </a:endParaRPr>
          </a:p>
          <a:p>
            <a:pPr marL="45719" indent="0">
              <a:buNone/>
            </a:pPr>
            <a:br>
              <a:rPr lang="en-IN" b="0" i="0" dirty="0">
                <a:solidFill>
                  <a:srgbClr val="BDC1C6"/>
                </a:solidFill>
                <a:effectLst/>
                <a:latin typeface="arial" panose="020B0604020202020204" pitchFamily="34" charset="0"/>
              </a:rPr>
            </a:br>
            <a:endParaRPr lang="en-IN" dirty="0">
              <a:latin typeface="Baskerville Old Face" panose="02020602080505020303" pitchFamily="18" charset="0"/>
            </a:endParaRPr>
          </a:p>
        </p:txBody>
      </p:sp>
      <p:pic>
        <p:nvPicPr>
          <p:cNvPr id="4" name="Picture 3">
            <a:extLst>
              <a:ext uri="{FF2B5EF4-FFF2-40B4-BE49-F238E27FC236}">
                <a16:creationId xmlns:a16="http://schemas.microsoft.com/office/drawing/2014/main" id="{679161B2-DA0C-9BF9-BF0D-439172D1856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28794" y="4641890"/>
            <a:ext cx="3666652" cy="1677497"/>
          </a:xfrm>
          <a:prstGeom prst="rect">
            <a:avLst/>
          </a:prstGeom>
          <a:noFill/>
          <a:ln>
            <a:noFill/>
          </a:ln>
        </p:spPr>
      </p:pic>
    </p:spTree>
    <p:extLst>
      <p:ext uri="{BB962C8B-B14F-4D97-AF65-F5344CB8AC3E}">
        <p14:creationId xmlns:p14="http://schemas.microsoft.com/office/powerpoint/2010/main" val="3757235709"/>
      </p:ext>
    </p:extLst>
  </p:cSld>
  <p:clrMapOvr>
    <a:masterClrMapping/>
  </p:clrMapOvr>
  <p:transition spd="slow">
    <p:cove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F5FF8-7ED5-F6DE-E76C-9679DC438A41}"/>
              </a:ext>
            </a:extLst>
          </p:cNvPr>
          <p:cNvSpPr>
            <a:spLocks noGrp="1"/>
          </p:cNvSpPr>
          <p:nvPr>
            <p:ph type="title"/>
          </p:nvPr>
        </p:nvSpPr>
        <p:spPr>
          <a:xfrm>
            <a:off x="913776" y="618519"/>
            <a:ext cx="10364451" cy="912107"/>
          </a:xfrm>
        </p:spPr>
        <p:txBody>
          <a:bodyPr/>
          <a:lstStyle/>
          <a:p>
            <a:pPr algn="l"/>
            <a:r>
              <a:rPr lang="en-IN" sz="3600" dirty="0">
                <a:latin typeface="Algerian" panose="04020705040A02060702" pitchFamily="82" charset="0"/>
              </a:rPr>
              <a:t>Software Requirement Specification:</a:t>
            </a:r>
            <a:endParaRPr lang="en-IN" dirty="0"/>
          </a:p>
        </p:txBody>
      </p:sp>
      <p:sp>
        <p:nvSpPr>
          <p:cNvPr id="3" name="Content Placeholder 2">
            <a:extLst>
              <a:ext uri="{FF2B5EF4-FFF2-40B4-BE49-F238E27FC236}">
                <a16:creationId xmlns:a16="http://schemas.microsoft.com/office/drawing/2014/main" id="{EC5AD16D-A3E9-7539-3DB8-7745A2C676AC}"/>
              </a:ext>
            </a:extLst>
          </p:cNvPr>
          <p:cNvSpPr>
            <a:spLocks noGrp="1"/>
          </p:cNvSpPr>
          <p:nvPr>
            <p:ph sz="quarter" idx="13"/>
          </p:nvPr>
        </p:nvSpPr>
        <p:spPr>
          <a:xfrm>
            <a:off x="913773" y="1530626"/>
            <a:ext cx="10363827" cy="4780722"/>
          </a:xfrm>
          <a:solidFill>
            <a:schemeClr val="bg1">
              <a:lumMod val="20000"/>
              <a:lumOff val="80000"/>
            </a:schemeClr>
          </a:solidFill>
        </p:spPr>
        <p:txBody>
          <a:bodyPr>
            <a:normAutofit lnSpcReduction="10000"/>
          </a:bodyPr>
          <a:lstStyle/>
          <a:p>
            <a:pPr>
              <a:buFont typeface="Wingdings" panose="05000000000000000000" pitchFamily="2" charset="2"/>
              <a:buChar char="Ø"/>
            </a:pPr>
            <a:r>
              <a:rPr lang="en-IN" dirty="0">
                <a:solidFill>
                  <a:srgbClr val="CC0000"/>
                </a:solidFill>
                <a:latin typeface="Times New Roman" panose="02020603050405020304" pitchFamily="18" charset="0"/>
                <a:cs typeface="Times New Roman" panose="02020603050405020304" pitchFamily="18" charset="0"/>
              </a:rPr>
              <a:t>Software Requirement:</a:t>
            </a:r>
            <a:r>
              <a:rPr lang="en-IN" dirty="0">
                <a:latin typeface="Times New Roman" panose="02020603050405020304" pitchFamily="18" charset="0"/>
                <a:cs typeface="Times New Roman" panose="02020603050405020304" pitchFamily="18" charset="0"/>
              </a:rPr>
              <a:t> </a:t>
            </a:r>
          </a:p>
          <a:p>
            <a:pPr marL="0" indent="0">
              <a:buNone/>
            </a:pPr>
            <a:r>
              <a:rPr lang="en-IN" dirty="0">
                <a:latin typeface="Times New Roman" panose="02020603050405020304" pitchFamily="18" charset="0"/>
                <a:cs typeface="Times New Roman" panose="02020603050405020304" pitchFamily="18" charset="0"/>
              </a:rPr>
              <a:t>        Operating system : Windows. </a:t>
            </a:r>
          </a:p>
          <a:p>
            <a:pPr marL="0" indent="0">
              <a:buNone/>
            </a:pPr>
            <a:r>
              <a:rPr lang="en-IN" dirty="0">
                <a:latin typeface="Times New Roman" panose="02020603050405020304" pitchFamily="18" charset="0"/>
                <a:cs typeface="Times New Roman" panose="02020603050405020304" pitchFamily="18" charset="0"/>
              </a:rPr>
              <a:t>        User interface : </a:t>
            </a:r>
            <a:r>
              <a:rPr lang="en-IN" dirty="0" err="1">
                <a:latin typeface="Times New Roman" panose="02020603050405020304" pitchFamily="18" charset="0"/>
                <a:cs typeface="Times New Roman" panose="02020603050405020304" pitchFamily="18" charset="0"/>
              </a:rPr>
              <a:t>Jupyter</a:t>
            </a:r>
            <a:r>
              <a:rPr lang="en-IN" dirty="0">
                <a:latin typeface="Times New Roman" panose="02020603050405020304" pitchFamily="18" charset="0"/>
                <a:cs typeface="Times New Roman" panose="02020603050405020304" pitchFamily="18" charset="0"/>
              </a:rPr>
              <a:t> </a:t>
            </a:r>
            <a:r>
              <a:rPr lang="en-IN" dirty="0" err="1">
                <a:latin typeface="Times New Roman" panose="02020603050405020304" pitchFamily="18" charset="0"/>
                <a:cs typeface="Times New Roman" panose="02020603050405020304" pitchFamily="18" charset="0"/>
              </a:rPr>
              <a:t>NoteBook</a:t>
            </a:r>
            <a:r>
              <a:rPr lang="en-IN" dirty="0">
                <a:latin typeface="Times New Roman" panose="02020603050405020304" pitchFamily="18" charset="0"/>
                <a:cs typeface="Times New Roman" panose="02020603050405020304" pitchFamily="18" charset="0"/>
              </a:rPr>
              <a:t>. </a:t>
            </a:r>
          </a:p>
          <a:p>
            <a:pPr marL="0" indent="0">
              <a:buNone/>
            </a:pPr>
            <a:r>
              <a:rPr lang="en-IN" dirty="0">
                <a:latin typeface="Times New Roman" panose="02020603050405020304" pitchFamily="18" charset="0"/>
                <a:cs typeface="Times New Roman" panose="02020603050405020304" pitchFamily="18" charset="0"/>
              </a:rPr>
              <a:t>        Platform : </a:t>
            </a:r>
            <a:r>
              <a:rPr lang="en-IN" dirty="0" err="1">
                <a:latin typeface="Times New Roman" panose="02020603050405020304" pitchFamily="18" charset="0"/>
                <a:cs typeface="Times New Roman" panose="02020603050405020304" pitchFamily="18" charset="0"/>
              </a:rPr>
              <a:t>JupyterNoteBook</a:t>
            </a:r>
            <a:r>
              <a:rPr lang="en-IN" dirty="0">
                <a:latin typeface="Times New Roman" panose="02020603050405020304" pitchFamily="18" charset="0"/>
                <a:cs typeface="Times New Roman" panose="02020603050405020304" pitchFamily="18" charset="0"/>
              </a:rPr>
              <a:t>. </a:t>
            </a:r>
          </a:p>
          <a:p>
            <a:pPr marL="0" indent="0">
              <a:buNone/>
            </a:pPr>
            <a:r>
              <a:rPr lang="en-IN" dirty="0">
                <a:latin typeface="Times New Roman" panose="02020603050405020304" pitchFamily="18" charset="0"/>
                <a:cs typeface="Times New Roman" panose="02020603050405020304" pitchFamily="18" charset="0"/>
              </a:rPr>
              <a:t>        Database : CSV. </a:t>
            </a:r>
          </a:p>
          <a:p>
            <a:pPr>
              <a:buFont typeface="Wingdings" panose="05000000000000000000" pitchFamily="2" charset="2"/>
              <a:buChar char="Ø"/>
            </a:pPr>
            <a:r>
              <a:rPr lang="en-IN" dirty="0">
                <a:solidFill>
                  <a:srgbClr val="CC0000"/>
                </a:solidFill>
                <a:latin typeface="Times New Roman" panose="02020603050405020304" pitchFamily="18" charset="0"/>
                <a:cs typeface="Times New Roman" panose="02020603050405020304" pitchFamily="18" charset="0"/>
              </a:rPr>
              <a:t>Hardware Requirements: </a:t>
            </a:r>
          </a:p>
          <a:p>
            <a:pPr marL="0" indent="0">
              <a:buNone/>
            </a:pPr>
            <a:r>
              <a:rPr lang="en-IN" dirty="0">
                <a:latin typeface="Times New Roman" panose="02020603050405020304" pitchFamily="18" charset="0"/>
                <a:cs typeface="Times New Roman" panose="02020603050405020304" pitchFamily="18" charset="0"/>
              </a:rPr>
              <a:t>      Processor : CORE i5 </a:t>
            </a:r>
          </a:p>
          <a:p>
            <a:pPr marL="0" indent="0">
              <a:buNone/>
            </a:pPr>
            <a:r>
              <a:rPr lang="en-IN" dirty="0">
                <a:latin typeface="Times New Roman" panose="02020603050405020304" pitchFamily="18" charset="0"/>
                <a:cs typeface="Times New Roman" panose="02020603050405020304" pitchFamily="18" charset="0"/>
              </a:rPr>
              <a:t>      Hard disk : 512 GB</a:t>
            </a:r>
          </a:p>
          <a:p>
            <a:pPr marL="0" indent="0">
              <a:buNone/>
            </a:pPr>
            <a:r>
              <a:rPr lang="en-IN" dirty="0">
                <a:latin typeface="Times New Roman" panose="02020603050405020304" pitchFamily="18" charset="0"/>
                <a:cs typeface="Times New Roman" panose="02020603050405020304" pitchFamily="18" charset="0"/>
              </a:rPr>
              <a:t>      RAM : 8GB </a:t>
            </a:r>
          </a:p>
          <a:p>
            <a:pPr marL="0" indent="0">
              <a:buNone/>
            </a:pPr>
            <a:r>
              <a:rPr lang="en-IN" dirty="0">
                <a:latin typeface="Times New Roman" panose="02020603050405020304" pitchFamily="18" charset="0"/>
                <a:cs typeface="Times New Roman" panose="02020603050405020304" pitchFamily="18" charset="0"/>
              </a:rPr>
              <a:t>       Bit : 64 bits</a:t>
            </a:r>
          </a:p>
        </p:txBody>
      </p:sp>
      <p:pic>
        <p:nvPicPr>
          <p:cNvPr id="4" name="Picture 2" descr="Artificial intelligence vs Computer science engineering — JIET Jodhpur">
            <a:extLst>
              <a:ext uri="{FF2B5EF4-FFF2-40B4-BE49-F238E27FC236}">
                <a16:creationId xmlns:a16="http://schemas.microsoft.com/office/drawing/2014/main" id="{8E9FF155-AAA6-256F-F3A5-5A6078CA49AB}"/>
              </a:ext>
            </a:extLst>
          </p:cNvPr>
          <p:cNvPicPr>
            <a:picLocks noChangeAspect="1" noChangeArrowheads="1"/>
          </p:cNvPicPr>
          <p:nvPr/>
        </p:nvPicPr>
        <p:blipFill>
          <a:blip r:embed="rId2">
            <a:alphaModFix amt="5000"/>
            <a:extLst>
              <a:ext uri="{28A0092B-C50C-407E-A947-70E740481C1C}">
                <a14:useLocalDpi xmlns:a14="http://schemas.microsoft.com/office/drawing/2010/main" val="0"/>
              </a:ext>
            </a:extLst>
          </a:blip>
          <a:srcRect/>
          <a:stretch>
            <a:fillRect/>
          </a:stretch>
        </p:blipFill>
        <p:spPr bwMode="auto">
          <a:xfrm>
            <a:off x="1146774" y="1620571"/>
            <a:ext cx="10130826" cy="4309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19799"/>
      </p:ext>
    </p:extLst>
  </p:cSld>
  <p:clrMapOvr>
    <a:masterClrMapping/>
  </p:clrMapOvr>
  <p:transition spd="slow">
    <p:cove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81170B-FB0F-FABE-DB58-5BF92DFCE374}"/>
              </a:ext>
            </a:extLst>
          </p:cNvPr>
          <p:cNvSpPr>
            <a:spLocks noGrp="1"/>
          </p:cNvSpPr>
          <p:nvPr>
            <p:ph type="title"/>
          </p:nvPr>
        </p:nvSpPr>
        <p:spPr>
          <a:xfrm>
            <a:off x="913776" y="618519"/>
            <a:ext cx="10364451" cy="872351"/>
          </a:xfrm>
          <a:solidFill>
            <a:schemeClr val="accent1">
              <a:lumMod val="20000"/>
              <a:lumOff val="80000"/>
            </a:schemeClr>
          </a:solidFill>
        </p:spPr>
        <p:txBody>
          <a:bodyPr/>
          <a:lstStyle/>
          <a:p>
            <a:r>
              <a:rPr lang="en-IN" sz="3600" dirty="0">
                <a:latin typeface="Algerian" panose="04020705040A02060702" pitchFamily="82" charset="0"/>
              </a:rPr>
              <a:t>Coding and Implementation</a:t>
            </a:r>
            <a:endParaRPr lang="en-IN" dirty="0"/>
          </a:p>
        </p:txBody>
      </p:sp>
      <p:pic>
        <p:nvPicPr>
          <p:cNvPr id="5" name="Picture 2" descr="I redesign the Python logo to make it more modern : r/Python">
            <a:extLst>
              <a:ext uri="{FF2B5EF4-FFF2-40B4-BE49-F238E27FC236}">
                <a16:creationId xmlns:a16="http://schemas.microsoft.com/office/drawing/2014/main" id="{984E4FA2-47D0-F9EC-32ED-A058C0743C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3713" y="1556481"/>
            <a:ext cx="2117646" cy="175260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6" name="Picture 4" descr="Optimizing Jupyter Notebook: Tips, Tricks, and nbextensions | by Shadab  Hussain | Towards Data Science">
            <a:extLst>
              <a:ext uri="{FF2B5EF4-FFF2-40B4-BE49-F238E27FC236}">
                <a16:creationId xmlns:a16="http://schemas.microsoft.com/office/drawing/2014/main" id="{7F0A9569-02DF-05E8-D474-70491DDCA0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9184" y="1593695"/>
            <a:ext cx="1527883" cy="1752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descr="Scikit-Learn - Service">
            <a:extLst>
              <a:ext uri="{FF2B5EF4-FFF2-40B4-BE49-F238E27FC236}">
                <a16:creationId xmlns:a16="http://schemas.microsoft.com/office/drawing/2014/main" id="{713CF370-C86D-B00F-50EC-B617F84D7C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4893" y="1636557"/>
            <a:ext cx="1692415" cy="16668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8" name="Picture 8" descr="How to create NumPy arrays from scratch? | by Tanu N Prabhu | Towards Data  Science">
            <a:extLst>
              <a:ext uri="{FF2B5EF4-FFF2-40B4-BE49-F238E27FC236}">
                <a16:creationId xmlns:a16="http://schemas.microsoft.com/office/drawing/2014/main" id="{DF51BCD8-DEC8-C5F8-563A-845E2F188E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19616" y="1655947"/>
            <a:ext cx="1692415" cy="15536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10" descr="Download Python Logo Clipart Easy - Pandas Python Logo - Png Download  (#3678882) - PinClipart | Logo clipart, Clip art, Python logo">
            <a:extLst>
              <a:ext uri="{FF2B5EF4-FFF2-40B4-BE49-F238E27FC236}">
                <a16:creationId xmlns:a16="http://schemas.microsoft.com/office/drawing/2014/main" id="{3E34DEEC-0744-E3B6-E997-D2E48C51FB4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7933" y="3650825"/>
            <a:ext cx="1959412" cy="15820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12" descr="Matplotlib教程| iPhone &amp; iPad Game Reviews | AppSpy.com">
            <a:extLst>
              <a:ext uri="{FF2B5EF4-FFF2-40B4-BE49-F238E27FC236}">
                <a16:creationId xmlns:a16="http://schemas.microsoft.com/office/drawing/2014/main" id="{0788E368-FF83-8E2B-4C14-C4A631C4556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42608" y="3601501"/>
            <a:ext cx="1893518" cy="15820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4" descr="Discussion of seaborn logo · Issue #2243 · mwaskom/seaborn · GitHub">
            <a:extLst>
              <a:ext uri="{FF2B5EF4-FFF2-40B4-BE49-F238E27FC236}">
                <a16:creationId xmlns:a16="http://schemas.microsoft.com/office/drawing/2014/main" id="{95D9D9AD-FF75-1F74-4C9D-F88DD0AE07B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84342" y="3669566"/>
            <a:ext cx="1893519" cy="144594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170" name="Picture 2" descr="What is Tokenization | Methods to Perform Tokenization">
            <a:extLst>
              <a:ext uri="{FF2B5EF4-FFF2-40B4-BE49-F238E27FC236}">
                <a16:creationId xmlns:a16="http://schemas.microsoft.com/office/drawing/2014/main" id="{98B3B06D-F82E-50B2-3B2D-0C51C58E9B0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63258" y="1655947"/>
            <a:ext cx="1530836" cy="1508366"/>
          </a:xfrm>
          <a:prstGeom prst="rect">
            <a:avLst/>
          </a:prstGeom>
          <a:noFill/>
          <a:extLst>
            <a:ext uri="{909E8E84-426E-40DD-AFC4-6F175D3DCCD1}">
              <a14:hiddenFill xmlns:a14="http://schemas.microsoft.com/office/drawing/2010/main">
                <a:solidFill>
                  <a:srgbClr val="FFFFFF"/>
                </a:solidFill>
              </a14:hiddenFill>
            </a:ext>
          </a:extLst>
        </p:spPr>
      </p:pic>
      <p:sp>
        <p:nvSpPr>
          <p:cNvPr id="12" name="AutoShape 4" descr="textblob 0.17.1 - PythonFix.com">
            <a:extLst>
              <a:ext uri="{FF2B5EF4-FFF2-40B4-BE49-F238E27FC236}">
                <a16:creationId xmlns:a16="http://schemas.microsoft.com/office/drawing/2014/main" id="{D1CF72AB-9047-6BC8-A227-A468C30BC069}"/>
              </a:ext>
            </a:extLst>
          </p:cNvPr>
          <p:cNvSpPr>
            <a:spLocks noChangeAspect="1" noChangeArrowheads="1"/>
          </p:cNvSpPr>
          <p:nvPr/>
        </p:nvSpPr>
        <p:spPr bwMode="auto">
          <a:xfrm>
            <a:off x="6016028"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3" name="AutoShape 6" descr="textblob 0.17.1 - PythonFix.com">
            <a:extLst>
              <a:ext uri="{FF2B5EF4-FFF2-40B4-BE49-F238E27FC236}">
                <a16:creationId xmlns:a16="http://schemas.microsoft.com/office/drawing/2014/main" id="{30B4AD84-CCFE-1FBD-8968-4C0542736B3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7176" name="Picture 8" descr="TextBlob: Simplified Text Processing — TextBlob 0.16.0 documentation">
            <a:extLst>
              <a:ext uri="{FF2B5EF4-FFF2-40B4-BE49-F238E27FC236}">
                <a16:creationId xmlns:a16="http://schemas.microsoft.com/office/drawing/2014/main" id="{C9A30E4B-C0B2-783E-BAF7-9A6E1F49C26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23123" y="3793353"/>
            <a:ext cx="1788908" cy="132216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27380890"/>
      </p:ext>
    </p:extLst>
  </p:cSld>
  <p:clrMapOvr>
    <a:masterClrMapping/>
  </p:clrMapOvr>
  <p:transition spd="slow">
    <p:cove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B04CC-8DBC-67AC-B1FD-A5D4544BBD75}"/>
              </a:ext>
            </a:extLst>
          </p:cNvPr>
          <p:cNvSpPr>
            <a:spLocks noGrp="1"/>
          </p:cNvSpPr>
          <p:nvPr>
            <p:ph type="title"/>
          </p:nvPr>
        </p:nvSpPr>
        <p:spPr>
          <a:xfrm>
            <a:off x="814813" y="1774479"/>
            <a:ext cx="10855104" cy="3005751"/>
          </a:xfrm>
          <a:solidFill>
            <a:schemeClr val="bg1">
              <a:lumMod val="20000"/>
              <a:lumOff val="80000"/>
            </a:schemeClr>
          </a:solidFill>
        </p:spPr>
        <p:txBody>
          <a:bodyPr>
            <a:normAutofit/>
          </a:bodyPr>
          <a:lstStyle/>
          <a:p>
            <a:pPr>
              <a:lnSpc>
                <a:spcPct val="115000"/>
              </a:lnSpc>
              <a:spcAft>
                <a:spcPts val="800"/>
              </a:spcAft>
            </a:pPr>
            <a:r>
              <a:rPr lang="en-IN" sz="7200" u="sng" dirty="0">
                <a:solidFill>
                  <a:schemeClr val="bg2">
                    <a:lumMod val="10000"/>
                  </a:schemeClr>
                </a:solidFill>
                <a:effectLst/>
                <a:latin typeface="Algerian" panose="04020705040A02060702" pitchFamily="82" charset="0"/>
                <a:ea typeface="Calibri" panose="020F0502020204030204" pitchFamily="34" charset="0"/>
                <a:cs typeface="Times New Roman" panose="02020603050405020304" pitchFamily="18" charset="0"/>
              </a:rPr>
              <a:t>Overview of the Data</a:t>
            </a:r>
            <a:br>
              <a:rPr lang="en-IN" sz="1800" dirty="0">
                <a:effectLst/>
                <a:latin typeface="Calibri" panose="020F0502020204030204" pitchFamily="34" charset="0"/>
                <a:ea typeface="Calibri" panose="020F0502020204030204" pitchFamily="34" charset="0"/>
                <a:cs typeface="Times New Roman" panose="02020603050405020304" pitchFamily="18" charset="0"/>
              </a:rPr>
            </a:br>
            <a:endParaRPr lang="en-IN" dirty="0"/>
          </a:p>
        </p:txBody>
      </p:sp>
    </p:spTree>
    <p:extLst>
      <p:ext uri="{BB962C8B-B14F-4D97-AF65-F5344CB8AC3E}">
        <p14:creationId xmlns:p14="http://schemas.microsoft.com/office/powerpoint/2010/main" val="948360307"/>
      </p:ext>
    </p:extLst>
  </p:cSld>
  <p:clrMapOvr>
    <a:masterClrMapping/>
  </p:clrMapOvr>
  <p:transition spd="slow">
    <p:cove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5B800A97-2264-2936-9C63-44943EE26EBF}"/>
              </a:ext>
            </a:extLst>
          </p:cNvPr>
          <p:cNvSpPr>
            <a:spLocks noGrp="1"/>
          </p:cNvSpPr>
          <p:nvPr>
            <p:ph type="title"/>
          </p:nvPr>
        </p:nvSpPr>
        <p:spPr>
          <a:xfrm>
            <a:off x="836950" y="588475"/>
            <a:ext cx="10887288" cy="633744"/>
          </a:xfrm>
        </p:spPr>
        <p:style>
          <a:lnRef idx="1">
            <a:schemeClr val="accent6"/>
          </a:lnRef>
          <a:fillRef idx="2">
            <a:schemeClr val="accent6"/>
          </a:fillRef>
          <a:effectRef idx="1">
            <a:schemeClr val="accent6"/>
          </a:effectRef>
          <a:fontRef idx="minor">
            <a:schemeClr val="dk1"/>
          </a:fontRef>
        </p:style>
        <p:txBody>
          <a:bodyPr>
            <a:normAutofit fontScale="90000"/>
          </a:bodyPr>
          <a:lstStyle/>
          <a:p>
            <a:pPr algn="l"/>
            <a:br>
              <a:rPr lang="en-IN" sz="1800" dirty="0">
                <a:effectLst/>
                <a:latin typeface="Calibri" panose="020F0502020204030204" pitchFamily="34" charset="0"/>
                <a:ea typeface="Calibri" panose="020F0502020204030204" pitchFamily="34" charset="0"/>
                <a:cs typeface="Times New Roman" panose="02020603050405020304" pitchFamily="18" charset="0"/>
              </a:rPr>
            </a:br>
            <a:br>
              <a:rPr lang="en-IN" sz="1800" dirty="0">
                <a:effectLst/>
                <a:latin typeface="Calibri" panose="020F0502020204030204" pitchFamily="34" charset="0"/>
                <a:ea typeface="Calibri" panose="020F0502020204030204" pitchFamily="34" charset="0"/>
                <a:cs typeface="Times New Roman" panose="02020603050405020304" pitchFamily="18" charset="0"/>
              </a:rPr>
            </a:br>
            <a:r>
              <a:rPr lang="en-IN" sz="40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Dataset description:</a:t>
            </a:r>
            <a:br>
              <a:rPr lang="en-IN" sz="40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br>
            <a:endParaRPr lang="en-IN" sz="4000" dirty="0">
              <a:solidFill>
                <a:srgbClr val="FF0000"/>
              </a:solidFill>
              <a:latin typeface="Times New Roman" panose="02020603050405020304" pitchFamily="18" charset="0"/>
              <a:cs typeface="Times New Roman" panose="02020603050405020304" pitchFamily="18" charset="0"/>
            </a:endParaRPr>
          </a:p>
        </p:txBody>
      </p:sp>
      <p:sp>
        <p:nvSpPr>
          <p:cNvPr id="11" name="Content Placeholder 10">
            <a:extLst>
              <a:ext uri="{FF2B5EF4-FFF2-40B4-BE49-F238E27FC236}">
                <a16:creationId xmlns:a16="http://schemas.microsoft.com/office/drawing/2014/main" id="{E964F036-677F-074A-3D41-F2063D837ADB}"/>
              </a:ext>
            </a:extLst>
          </p:cNvPr>
          <p:cNvSpPr>
            <a:spLocks noGrp="1"/>
          </p:cNvSpPr>
          <p:nvPr>
            <p:ph sz="quarter" idx="13"/>
          </p:nvPr>
        </p:nvSpPr>
        <p:spPr>
          <a:xfrm>
            <a:off x="913149" y="1511929"/>
            <a:ext cx="7225916" cy="1330859"/>
          </a:xfrm>
        </p:spPr>
        <p:style>
          <a:lnRef idx="2">
            <a:schemeClr val="accent1"/>
          </a:lnRef>
          <a:fillRef idx="1">
            <a:schemeClr val="lt1"/>
          </a:fillRef>
          <a:effectRef idx="0">
            <a:schemeClr val="accent1"/>
          </a:effectRef>
          <a:fontRef idx="minor">
            <a:schemeClr val="dk1"/>
          </a:fontRef>
        </p:style>
        <p:txBody>
          <a:bodyPr>
            <a:normAutofit fontScale="92500" lnSpcReduction="20000"/>
          </a:bodyPr>
          <a:lstStyle/>
          <a:p>
            <a:pPr marL="0" indent="0">
              <a:buNone/>
            </a:pPr>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The dataset is provided by </a:t>
            </a:r>
            <a:r>
              <a:rPr lang="en-IN" cap="none" dirty="0">
                <a:latin typeface="Times New Roman" panose="02020603050405020304" pitchFamily="18" charset="0"/>
                <a:ea typeface="Calibri" panose="020F0502020204030204" pitchFamily="34" charset="0"/>
                <a:cs typeface="Times New Roman" panose="02020603050405020304" pitchFamily="18" charset="0"/>
              </a:rPr>
              <a:t>K</a:t>
            </a:r>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aggle website and was collected and published first by </a:t>
            </a:r>
            <a:r>
              <a:rPr lang="en-IN" cap="none" dirty="0" err="1">
                <a:latin typeface="Times New Roman" panose="02020603050405020304" pitchFamily="18" charset="0"/>
                <a:ea typeface="Calibri" panose="020F0502020204030204" pitchFamily="34" charset="0"/>
                <a:cs typeface="Times New Roman" panose="02020603050405020304" pitchFamily="18" charset="0"/>
              </a:rPr>
              <a:t>M</a:t>
            </a:r>
            <a:r>
              <a:rPr lang="en-IN" cap="none" dirty="0" err="1">
                <a:effectLst/>
                <a:latin typeface="Times New Roman" panose="02020603050405020304" pitchFamily="18" charset="0"/>
                <a:ea typeface="Calibri" panose="020F0502020204030204" pitchFamily="34" charset="0"/>
                <a:cs typeface="Times New Roman" panose="02020603050405020304" pitchFamily="18" charset="0"/>
              </a:rPr>
              <a:t>cauley</a:t>
            </a:r>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 et al. (2013) in their research related to online reviews. The dataset consists of reviews on fine food posted on </a:t>
            </a:r>
            <a:r>
              <a:rPr lang="en-IN" cap="none" dirty="0" err="1">
                <a:latin typeface="Times New Roman" panose="02020603050405020304" pitchFamily="18" charset="0"/>
                <a:ea typeface="Calibri" panose="020F0502020204030204" pitchFamily="34" charset="0"/>
                <a:cs typeface="Times New Roman" panose="02020603050405020304" pitchFamily="18" charset="0"/>
              </a:rPr>
              <a:t>A</a:t>
            </a:r>
            <a:r>
              <a:rPr lang="en-IN" cap="none" dirty="0" err="1">
                <a:effectLst/>
                <a:latin typeface="Times New Roman" panose="02020603050405020304" pitchFamily="18" charset="0"/>
                <a:ea typeface="Calibri" panose="020F0502020204030204" pitchFamily="34" charset="0"/>
                <a:cs typeface="Times New Roman" panose="02020603050405020304" pitchFamily="18" charset="0"/>
              </a:rPr>
              <a:t>mazon.Com</a:t>
            </a:r>
            <a:r>
              <a:rPr lang="en-IN" cap="none" dirty="0">
                <a:effectLst/>
                <a:latin typeface="Times New Roman" panose="02020603050405020304" pitchFamily="18" charset="0"/>
                <a:ea typeface="Calibri" panose="020F0502020204030204" pitchFamily="34" charset="0"/>
                <a:cs typeface="Times New Roman" panose="02020603050405020304" pitchFamily="18" charset="0"/>
              </a:rPr>
              <a:t>. It has a total of 568,454 reviews on 74,258 products.</a:t>
            </a:r>
          </a:p>
          <a:p>
            <a:pPr marL="0" indent="0">
              <a:buNone/>
            </a:pPr>
            <a:endParaRPr lang="en-IN" dirty="0"/>
          </a:p>
        </p:txBody>
      </p:sp>
      <p:sp>
        <p:nvSpPr>
          <p:cNvPr id="12" name="Content Placeholder 11">
            <a:extLst>
              <a:ext uri="{FF2B5EF4-FFF2-40B4-BE49-F238E27FC236}">
                <a16:creationId xmlns:a16="http://schemas.microsoft.com/office/drawing/2014/main" id="{8971D446-D6E6-EB59-E2A2-DB65CD15EF4E}"/>
              </a:ext>
            </a:extLst>
          </p:cNvPr>
          <p:cNvSpPr>
            <a:spLocks noGrp="1"/>
          </p:cNvSpPr>
          <p:nvPr>
            <p:ph sz="quarter" idx="14"/>
          </p:nvPr>
        </p:nvSpPr>
        <p:spPr>
          <a:xfrm>
            <a:off x="913150" y="3005751"/>
            <a:ext cx="3676958" cy="3005750"/>
          </a:xfrm>
        </p:spPr>
        <p:style>
          <a:lnRef idx="2">
            <a:schemeClr val="accent1"/>
          </a:lnRef>
          <a:fillRef idx="1">
            <a:schemeClr val="lt1"/>
          </a:fillRef>
          <a:effectRef idx="0">
            <a:schemeClr val="accent1"/>
          </a:effectRef>
          <a:fontRef idx="minor">
            <a:schemeClr val="dk1"/>
          </a:fontRef>
        </p:style>
        <p:txBody>
          <a:bodyPr/>
          <a:lstStyle/>
          <a:p>
            <a:pPr marL="0" indent="0">
              <a:lnSpc>
                <a:spcPct val="107000"/>
              </a:lnSpc>
              <a:spcAft>
                <a:spcPts val="800"/>
              </a:spcAft>
              <a:buNone/>
              <a:tabLst>
                <a:tab pos="4333875" algn="l"/>
              </a:tabLst>
            </a:pPr>
            <a:r>
              <a:rPr lang="en-IN" sz="1800" cap="none" dirty="0">
                <a:effectLst/>
                <a:latin typeface="Times New Roman" panose="02020603050405020304" pitchFamily="18" charset="0"/>
                <a:ea typeface="Calibri" panose="020F0502020204030204" pitchFamily="34" charset="0"/>
                <a:cs typeface="Times New Roman" panose="02020603050405020304" pitchFamily="18" charset="0"/>
              </a:rPr>
              <a:t>1.</a:t>
            </a:r>
            <a:r>
              <a:rPr lang="en-IN" sz="1800" i="1" cap="none" spc="-5" dirty="0">
                <a:solidFill>
                  <a:srgbClr val="292929"/>
                </a:solidFill>
                <a:effectLst/>
                <a:latin typeface="Times New Roman" panose="02020603050405020304" pitchFamily="18" charset="0"/>
                <a:ea typeface="Calibri" panose="020F0502020204030204" pitchFamily="34" charset="0"/>
                <a:cs typeface="Times New Roman" panose="02020603050405020304" pitchFamily="18" charset="0"/>
              </a:rPr>
              <a:t>Number of reviews: 568,454</a:t>
            </a:r>
            <a:endParaRPr lang="en-IN" sz="1800" cap="none" dirty="0">
              <a:effectLst/>
              <a:latin typeface="Times New Roman" panose="02020603050405020304" pitchFamily="18" charset="0"/>
              <a:ea typeface="Calibri" panose="020F0502020204030204" pitchFamily="34" charset="0"/>
              <a:cs typeface="Times New Roman" panose="02020603050405020304" pitchFamily="18" charset="0"/>
            </a:endParaRPr>
          </a:p>
          <a:p>
            <a:pPr marL="0" indent="0">
              <a:lnSpc>
                <a:spcPts val="2100"/>
              </a:lnSpc>
              <a:spcBef>
                <a:spcPts val="1370"/>
              </a:spcBef>
              <a:buNone/>
            </a:pPr>
            <a:r>
              <a:rPr lang="en-IN" sz="18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2.Number of users: 256,059</a:t>
            </a:r>
            <a:endParaRPr lang="en-IN" sz="1800" cap="none"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indent="0">
              <a:lnSpc>
                <a:spcPts val="2100"/>
              </a:lnSpc>
              <a:spcBef>
                <a:spcPts val="1370"/>
              </a:spcBef>
              <a:buNone/>
            </a:pPr>
            <a:r>
              <a:rPr lang="en-IN" sz="18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3.Number of</a:t>
            </a:r>
            <a:r>
              <a:rPr lang="en-IN" sz="1800" i="1" cap="none" spc="-5" dirty="0">
                <a:solidFill>
                  <a:srgbClr val="292929"/>
                </a:solidFill>
                <a:latin typeface="Times New Roman" panose="02020603050405020304" pitchFamily="18" charset="0"/>
                <a:ea typeface="Times New Roman" panose="02020603050405020304" pitchFamily="18" charset="0"/>
                <a:cs typeface="Times New Roman" panose="02020603050405020304" pitchFamily="18" charset="0"/>
              </a:rPr>
              <a:t> </a:t>
            </a:r>
            <a:r>
              <a:rPr lang="en-IN" sz="18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products: 74,258</a:t>
            </a:r>
            <a:endParaRPr lang="en-IN" sz="1800" cap="none"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indent="0">
              <a:lnSpc>
                <a:spcPts val="2100"/>
              </a:lnSpc>
              <a:spcBef>
                <a:spcPts val="1370"/>
              </a:spcBef>
              <a:buNone/>
            </a:pPr>
            <a:r>
              <a:rPr lang="en-IN" sz="18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4.Timespan: oct 1999 — oct 2012</a:t>
            </a:r>
            <a:endParaRPr lang="en-IN" sz="1800" cap="none"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indent="0">
              <a:lnSpc>
                <a:spcPts val="2100"/>
              </a:lnSpc>
              <a:spcBef>
                <a:spcPts val="1370"/>
              </a:spcBef>
              <a:buNone/>
            </a:pPr>
            <a:r>
              <a:rPr lang="en-IN" sz="1800" cap="none" spc="-5" dirty="0">
                <a:solidFill>
                  <a:srgbClr val="292929"/>
                </a:solidFill>
                <a:latin typeface="Times New Roman" panose="02020603050405020304" pitchFamily="18" charset="0"/>
                <a:ea typeface="Times New Roman" panose="02020603050405020304" pitchFamily="18" charset="0"/>
                <a:cs typeface="Times New Roman" panose="02020603050405020304" pitchFamily="18" charset="0"/>
              </a:rPr>
              <a:t>5.</a:t>
            </a:r>
            <a:r>
              <a:rPr lang="en-IN" sz="1800" i="1" cap="none" spc="-5" dirty="0">
                <a:solidFill>
                  <a:srgbClr val="292929"/>
                </a:solidFill>
                <a:latin typeface="Times New Roman" panose="02020603050405020304" pitchFamily="18" charset="0"/>
                <a:ea typeface="Times New Roman" panose="02020603050405020304" pitchFamily="18" charset="0"/>
                <a:cs typeface="Times New Roman" panose="02020603050405020304" pitchFamily="18" charset="0"/>
              </a:rPr>
              <a:t>Number </a:t>
            </a:r>
            <a:r>
              <a:rPr lang="en-IN" sz="1800" i="1" cap="none" spc="-5" dirty="0">
                <a:solidFill>
                  <a:srgbClr val="292929"/>
                </a:solidFill>
                <a:effectLst/>
                <a:latin typeface="Times New Roman" panose="02020603050405020304" pitchFamily="18" charset="0"/>
                <a:ea typeface="Times New Roman" panose="02020603050405020304" pitchFamily="18" charset="0"/>
                <a:cs typeface="Times New Roman" panose="02020603050405020304" pitchFamily="18" charset="0"/>
              </a:rPr>
              <a:t>of attributes/columns in data: 10</a:t>
            </a:r>
            <a:endParaRPr lang="en-IN" sz="1800" cap="none"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indent="0">
              <a:buNone/>
            </a:pPr>
            <a:endParaRPr lang="en-IN" dirty="0"/>
          </a:p>
        </p:txBody>
      </p:sp>
      <p:pic>
        <p:nvPicPr>
          <p:cNvPr id="13" name="Picture 12" descr="Attribute Information">
            <a:extLst>
              <a:ext uri="{FF2B5EF4-FFF2-40B4-BE49-F238E27FC236}">
                <a16:creationId xmlns:a16="http://schemas.microsoft.com/office/drawing/2014/main" id="{D7ED6B09-1FC0-394C-BBAF-0A3EAEF0EF6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700021" y="3005751"/>
            <a:ext cx="3439044" cy="2498756"/>
          </a:xfrm>
          <a:prstGeom prst="rect">
            <a:avLst/>
          </a:prstGeom>
          <a:noFill/>
          <a:ln>
            <a:noFill/>
          </a:ln>
        </p:spPr>
      </p:pic>
      <p:sp>
        <p:nvSpPr>
          <p:cNvPr id="14" name="Rectangle 13">
            <a:extLst>
              <a:ext uri="{FF2B5EF4-FFF2-40B4-BE49-F238E27FC236}">
                <a16:creationId xmlns:a16="http://schemas.microsoft.com/office/drawing/2014/main" id="{6783E5A6-22AC-5F00-987C-CA2C8D21E644}"/>
              </a:ext>
            </a:extLst>
          </p:cNvPr>
          <p:cNvSpPr/>
          <p:nvPr/>
        </p:nvSpPr>
        <p:spPr>
          <a:xfrm>
            <a:off x="8320134" y="1394234"/>
            <a:ext cx="3676957" cy="5314385"/>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342900" lvl="0" indent="-342900">
              <a:lnSpc>
                <a:spcPts val="2100"/>
              </a:lnSpc>
              <a:spcBef>
                <a:spcPts val="25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1.Id</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nSpc>
                <a:spcPts val="2100"/>
              </a:lnSpc>
              <a:spcBef>
                <a:spcPts val="13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2.Product Id — unique identifier for the product</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nSpc>
                <a:spcPts val="2100"/>
              </a:lnSpc>
              <a:spcBef>
                <a:spcPts val="13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3.User Id — </a:t>
            </a:r>
            <a:r>
              <a:rPr lang="en-IN" sz="1400" i="1" spc="-5" dirty="0" err="1">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unqiue</a:t>
            </a: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 identifier for the user</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nSpc>
                <a:spcPts val="2100"/>
              </a:lnSpc>
              <a:spcBef>
                <a:spcPts val="13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4.Profile Name</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nSpc>
                <a:spcPts val="2100"/>
              </a:lnSpc>
              <a:spcBef>
                <a:spcPts val="13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5.Helpfulness Numerator — number of users who found the review helpful</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nSpc>
                <a:spcPts val="2100"/>
              </a:lnSpc>
              <a:spcBef>
                <a:spcPts val="13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6.Helpfulness Denominator — number of users who indicated whether they found the review helpful or not</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nSpc>
                <a:spcPts val="2100"/>
              </a:lnSpc>
              <a:spcBef>
                <a:spcPts val="13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7.Score — rating between 1 and 5</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nSpc>
                <a:spcPts val="2100"/>
              </a:lnSpc>
              <a:spcBef>
                <a:spcPts val="13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8.Time — timestamp for the review</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nSpc>
                <a:spcPts val="2100"/>
              </a:lnSpc>
              <a:spcBef>
                <a:spcPts val="13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9.Summary — brief summary of the review</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nSpc>
                <a:spcPts val="2100"/>
              </a:lnSpc>
              <a:spcBef>
                <a:spcPts val="1370"/>
              </a:spcBef>
              <a:tabLst>
                <a:tab pos="457200" algn="l"/>
              </a:tabLst>
            </a:pPr>
            <a:r>
              <a:rPr lang="en-IN" sz="1400" i="1" spc="-5"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rPr>
              <a:t>10.Text — text of the review</a:t>
            </a:r>
            <a:endParaRPr lang="en-IN" sz="1400" dirty="0">
              <a:solidFill>
                <a:srgbClr val="002060"/>
              </a:solidFill>
              <a:effectLst/>
              <a:latin typeface="Times New Roman" panose="02020603050405020304" pitchFamily="18" charset="0"/>
              <a:ea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DA7DE6A1-09E5-C9DE-0C53-4F966C175120}"/>
              </a:ext>
            </a:extLst>
          </p:cNvPr>
          <p:cNvSpPr/>
          <p:nvPr/>
        </p:nvSpPr>
        <p:spPr>
          <a:xfrm>
            <a:off x="4700021" y="5504508"/>
            <a:ext cx="3439044" cy="50699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sz="1800" i="1" spc="-5" dirty="0">
              <a:solidFill>
                <a:srgbClr val="292929"/>
              </a:solidFill>
              <a:effectLst/>
              <a:latin typeface="Calibri" panose="020F0502020204030204" pitchFamily="34" charset="0"/>
              <a:ea typeface="Times New Roman" panose="02020603050405020304" pitchFamily="18" charset="0"/>
            </a:endParaRPr>
          </a:p>
          <a:p>
            <a:pPr algn="ctr"/>
            <a:r>
              <a:rPr lang="en-IN" sz="1800" i="1" spc="-5" dirty="0">
                <a:solidFill>
                  <a:srgbClr val="292929"/>
                </a:solidFill>
                <a:effectLst/>
                <a:latin typeface="Calibri" panose="020F0502020204030204" pitchFamily="34" charset="0"/>
                <a:ea typeface="Times New Roman" panose="02020603050405020304" pitchFamily="18" charset="0"/>
              </a:rPr>
              <a:t>Attribute Information</a:t>
            </a:r>
            <a:endParaRPr lang="en-IN" sz="1800" dirty="0">
              <a:effectLst/>
              <a:latin typeface="Times New Roman" panose="02020603050405020304" pitchFamily="18" charset="0"/>
              <a:ea typeface="Times New Roman" panose="02020603050405020304" pitchFamily="18" charset="0"/>
            </a:endParaRPr>
          </a:p>
          <a:p>
            <a:pPr algn="ctr"/>
            <a:endParaRPr lang="en-IN" dirty="0"/>
          </a:p>
        </p:txBody>
      </p:sp>
      <p:sp>
        <p:nvSpPr>
          <p:cNvPr id="2" name="Rectangle 1">
            <a:extLst>
              <a:ext uri="{FF2B5EF4-FFF2-40B4-BE49-F238E27FC236}">
                <a16:creationId xmlns:a16="http://schemas.microsoft.com/office/drawing/2014/main" id="{93CE0297-7983-F287-3666-3162CE49AD59}"/>
              </a:ext>
            </a:extLst>
          </p:cNvPr>
          <p:cNvSpPr/>
          <p:nvPr/>
        </p:nvSpPr>
        <p:spPr>
          <a:xfrm>
            <a:off x="836950" y="6294474"/>
            <a:ext cx="7302115" cy="41414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Source: </a:t>
            </a:r>
            <a:r>
              <a:rPr lang="en-US" dirty="0">
                <a:solidFill>
                  <a:srgbClr val="C00000"/>
                </a:solidFill>
                <a:hlinkClick r:id="rId3" action="ppaction://hlinksldjump">
                  <a:extLst>
                    <a:ext uri="{A12FA001-AC4F-418D-AE19-62706E023703}">
                      <ahyp:hlinkClr xmlns:ahyp="http://schemas.microsoft.com/office/drawing/2018/hyperlinkcolor" val="tx"/>
                    </a:ext>
                  </a:extLst>
                </a:hlinkClick>
              </a:rPr>
              <a:t>https://www.kaggle.com/datasets/snap/amazon-fine-food-reviews</a:t>
            </a:r>
            <a:endParaRPr lang="en-IN" dirty="0">
              <a:solidFill>
                <a:srgbClr val="C00000"/>
              </a:solidFill>
            </a:endParaRPr>
          </a:p>
        </p:txBody>
      </p:sp>
    </p:spTree>
    <p:extLst>
      <p:ext uri="{BB962C8B-B14F-4D97-AF65-F5344CB8AC3E}">
        <p14:creationId xmlns:p14="http://schemas.microsoft.com/office/powerpoint/2010/main" val="3110366729"/>
      </p:ext>
    </p:extLst>
  </p:cSld>
  <p:clrMapOvr>
    <a:masterClrMapping/>
  </p:clrMapOvr>
  <p:transition spd="slow">
    <p:cove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roplet">
  <a:themeElements>
    <a:clrScheme name="Droplet">
      <a:dk1>
        <a:sysClr val="windowText" lastClr="000000"/>
      </a:dk1>
      <a:lt1>
        <a:sysClr val="window" lastClr="FFFFFF"/>
      </a:lt1>
      <a:dk2>
        <a:srgbClr val="27537E"/>
      </a:dk2>
      <a:lt2>
        <a:srgbClr val="AABED7"/>
      </a:lt2>
      <a:accent1>
        <a:srgbClr val="E34B7A"/>
      </a:accent1>
      <a:accent2>
        <a:srgbClr val="AC339A"/>
      </a:accent2>
      <a:accent3>
        <a:srgbClr val="6953B7"/>
      </a:accent3>
      <a:accent4>
        <a:srgbClr val="1D7EAB"/>
      </a:accent4>
      <a:accent5>
        <a:srgbClr val="43AFD6"/>
      </a:accent5>
      <a:accent6>
        <a:srgbClr val="DE85E1"/>
      </a:accent6>
      <a:hlink>
        <a:srgbClr val="ED87A6"/>
      </a:hlink>
      <a:folHlink>
        <a:srgbClr val="C99EAC"/>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78000"/>
                <a:shade val="100000"/>
                <a:hueMod val="136000"/>
                <a:satMod val="160000"/>
                <a:lumMod val="105000"/>
              </a:schemeClr>
            </a:gs>
            <a:gs pos="100000">
              <a:schemeClr val="phClr">
                <a:shade val="92000"/>
                <a:satMod val="170000"/>
                <a:lumMod val="96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C71B277C-C29A-4BA0-A7BA-43502DF21AB3}"/>
    </a:ext>
  </a:extLst>
</a:theme>
</file>

<file path=docProps/app.xml><?xml version="1.0" encoding="utf-8"?>
<Properties xmlns="http://schemas.openxmlformats.org/officeDocument/2006/extended-properties" xmlns:vt="http://schemas.openxmlformats.org/officeDocument/2006/docPropsVTypes">
  <Template>Amazon Ppt-creative</Template>
  <TotalTime>1315</TotalTime>
  <Words>2352</Words>
  <Application>Microsoft Office PowerPoint</Application>
  <PresentationFormat>Widescreen</PresentationFormat>
  <Paragraphs>173</Paragraphs>
  <Slides>31</Slides>
  <Notes>0</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52" baseType="lpstr">
      <vt:lpstr>Algerian</vt:lpstr>
      <vt:lpstr>Arial</vt:lpstr>
      <vt:lpstr>Arial</vt:lpstr>
      <vt:lpstr>Arial Unicode MS</vt:lpstr>
      <vt:lpstr>Bahnschrift SemiBold</vt:lpstr>
      <vt:lpstr>Bahnschrift SemiBold SemiConden</vt:lpstr>
      <vt:lpstr>Baskerville Old Face</vt:lpstr>
      <vt:lpstr>Bell MT</vt:lpstr>
      <vt:lpstr>Calibri</vt:lpstr>
      <vt:lpstr>Calibri Light</vt:lpstr>
      <vt:lpstr>Castellar</vt:lpstr>
      <vt:lpstr>Helvetica</vt:lpstr>
      <vt:lpstr>Segoe UI</vt:lpstr>
      <vt:lpstr>Sitka Small Semibold</vt:lpstr>
      <vt:lpstr>Times New Roman</vt:lpstr>
      <vt:lpstr>Tw Cen MT</vt:lpstr>
      <vt:lpstr>Wingdings</vt:lpstr>
      <vt:lpstr>Office Theme</vt:lpstr>
      <vt:lpstr>1_Office Theme</vt:lpstr>
      <vt:lpstr>Droplet</vt:lpstr>
      <vt:lpstr>think-cell Slide</vt:lpstr>
      <vt:lpstr> </vt:lpstr>
      <vt:lpstr>Agenda </vt:lpstr>
      <vt:lpstr>                      Abstract </vt:lpstr>
      <vt:lpstr>   Introduction    </vt:lpstr>
      <vt:lpstr>   Overview:     </vt:lpstr>
      <vt:lpstr>Software Requirement Specification:</vt:lpstr>
      <vt:lpstr>Coding and Implementation</vt:lpstr>
      <vt:lpstr>Overview of the Data </vt:lpstr>
      <vt:lpstr>  Dataset description: </vt:lpstr>
      <vt:lpstr>  Loading the Data: </vt:lpstr>
      <vt:lpstr>  Overview of the review and summary text: </vt:lpstr>
      <vt:lpstr>Overview of the Helpfulness Numerator:</vt:lpstr>
      <vt:lpstr>Overview of the Score:</vt:lpstr>
      <vt:lpstr> Methodology </vt:lpstr>
      <vt:lpstr>Exploratory data analysis:</vt:lpstr>
      <vt:lpstr>Data Cleaning:Data cleaning is the process of preparing data for analysis by removing or modifying data that is incorrect, incomplete, irrelevant, duplicated, or improperly formatted. This data is usually not necessary or helpful when it comes to analyzing data because it may hinder the process or provide inaccurate results. There are several methods for cleaning data depending on how it is stored along with the answers being sought. </vt:lpstr>
      <vt:lpstr> Text Preprocessing </vt:lpstr>
      <vt:lpstr>PowerPoint Presentation</vt:lpstr>
      <vt:lpstr>PowerPoint Presentation</vt:lpstr>
      <vt:lpstr>PowerPoint Presentation</vt:lpstr>
      <vt:lpstr>PowerPoint Presentation</vt:lpstr>
      <vt:lpstr>PowerPoint Presentation</vt:lpstr>
      <vt:lpstr>PowerPoint Presentation</vt:lpstr>
      <vt:lpstr> TF-IDF vectorizer </vt:lpstr>
      <vt:lpstr>Support Vector Machine:</vt:lpstr>
      <vt:lpstr>PowerPoint Presentation</vt:lpstr>
      <vt:lpstr>Sentiment Analysi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ing                      Sentiment                                                                                                                       Analysis</dc:title>
  <dc:creator>Dattesh Dattu</dc:creator>
  <cp:lastModifiedBy>Dattesh Dattu</cp:lastModifiedBy>
  <cp:revision>7</cp:revision>
  <dcterms:created xsi:type="dcterms:W3CDTF">2023-04-16T10:39:59Z</dcterms:created>
  <dcterms:modified xsi:type="dcterms:W3CDTF">2024-08-16T11:08:49Z</dcterms:modified>
</cp:coreProperties>
</file>